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6"/>
    <p:sldMasterId id="2147483671" r:id="rId7"/>
    <p:sldMasterId id="2147483681" r:id="rId8"/>
    <p:sldMasterId id="2147483660" r:id="rId9"/>
  </p:sldMasterIdLst>
  <p:notesMasterIdLst>
    <p:notesMasterId r:id="rId42"/>
  </p:notesMasterIdLst>
  <p:sldIdLst>
    <p:sldId id="256" r:id="rId10"/>
    <p:sldId id="1040" r:id="rId11"/>
    <p:sldId id="6719" r:id="rId12"/>
    <p:sldId id="6733" r:id="rId13"/>
    <p:sldId id="6742" r:id="rId14"/>
    <p:sldId id="6741" r:id="rId15"/>
    <p:sldId id="6743" r:id="rId16"/>
    <p:sldId id="6744" r:id="rId17"/>
    <p:sldId id="6745" r:id="rId18"/>
    <p:sldId id="6746" r:id="rId19"/>
    <p:sldId id="6732" r:id="rId20"/>
    <p:sldId id="270" r:id="rId21"/>
    <p:sldId id="268" r:id="rId22"/>
    <p:sldId id="269" r:id="rId23"/>
    <p:sldId id="271" r:id="rId24"/>
    <p:sldId id="6720" r:id="rId25"/>
    <p:sldId id="6721" r:id="rId26"/>
    <p:sldId id="6751" r:id="rId27"/>
    <p:sldId id="6752" r:id="rId28"/>
    <p:sldId id="6731" r:id="rId29"/>
    <p:sldId id="6761" r:id="rId30"/>
    <p:sldId id="6760" r:id="rId31"/>
    <p:sldId id="6759" r:id="rId32"/>
    <p:sldId id="6758" r:id="rId33"/>
    <p:sldId id="6757" r:id="rId34"/>
    <p:sldId id="6756" r:id="rId35"/>
    <p:sldId id="6755" r:id="rId36"/>
    <p:sldId id="6754" r:id="rId37"/>
    <p:sldId id="6753" r:id="rId38"/>
    <p:sldId id="6715" r:id="rId39"/>
    <p:sldId id="6748" r:id="rId40"/>
    <p:sldId id="1071" r:id="rId41"/>
  </p:sldIdLst>
  <p:sldSz cx="12192000" cy="6858000"/>
  <p:notesSz cx="6718300" cy="9855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8D72D9-84A0-A589-B24F-6561B5B83EB9}" v="156" dt="2023-04-21T09:13:27.978"/>
    <p1510:client id="{4382B3A0-1F18-68CF-B7E7-88186CE2E62B}" v="446" dt="2023-04-20T09:48:40.169"/>
    <p1510:client id="{473639A3-E04B-C4EB-2D78-14BF11CA80FF}" v="795" dt="2023-04-21T05:38:18.868"/>
    <p1510:client id="{5A92BDFE-A381-3147-C86B-83564C5AC163}" v="30" dt="2023-04-20T14:49:25.585"/>
    <p1510:client id="{C045F3C8-D675-4ACE-8428-D27B7395567D}" v="30" vWet="32" dt="2023-04-21T06:01:34.439"/>
    <p1510:client id="{DCFFB173-BFE1-4D2F-9ED5-D8A5839B5238}" v="59" vWet="61" dt="2023-04-21T09:10:28.295"/>
    <p1510:client id="{FA4EEEA6-CFC6-FD5F-DCF9-B19750E510AD}" v="1" dt="2023-04-20T15:35:18.6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Cyriel" userId="S::cyriel.martin@era.europa.eu::0b56f242-993b-4481-93f3-1404cce53605" providerId="AD" clId="Web-{1F33A609-8F94-D58C-11AD-564F68DE9DEC}"/>
    <pc:docChg chg="addSld delSld modSld">
      <pc:chgData name="MARTIN Cyriel" userId="S::cyriel.martin@era.europa.eu::0b56f242-993b-4481-93f3-1404cce53605" providerId="AD" clId="Web-{1F33A609-8F94-D58C-11AD-564F68DE9DEC}" dt="2023-04-19T12:03:54.904" v="134" actId="20577"/>
      <pc:docMkLst>
        <pc:docMk/>
      </pc:docMkLst>
      <pc:sldChg chg="addSp delSp modSp">
        <pc:chgData name="MARTIN Cyriel" userId="S::cyriel.martin@era.europa.eu::0b56f242-993b-4481-93f3-1404cce53605" providerId="AD" clId="Web-{1F33A609-8F94-D58C-11AD-564F68DE9DEC}" dt="2023-04-19T11:56:28.970" v="45" actId="20577"/>
        <pc:sldMkLst>
          <pc:docMk/>
          <pc:sldMk cId="1775282822" sldId="6721"/>
        </pc:sldMkLst>
        <pc:spChg chg="del mod">
          <ac:chgData name="MARTIN Cyriel" userId="S::cyriel.martin@era.europa.eu::0b56f242-993b-4481-93f3-1404cce53605" providerId="AD" clId="Web-{1F33A609-8F94-D58C-11AD-564F68DE9DEC}" dt="2023-04-19T11:52:33.238" v="1"/>
          <ac:spMkLst>
            <pc:docMk/>
            <pc:sldMk cId="1775282822" sldId="6721"/>
            <ac:spMk id="2" creationId="{0C11545B-4964-F137-F9F5-16D6AE4B034E}"/>
          </ac:spMkLst>
        </pc:spChg>
        <pc:spChg chg="del">
          <ac:chgData name="MARTIN Cyriel" userId="S::cyriel.martin@era.europa.eu::0b56f242-993b-4481-93f3-1404cce53605" providerId="AD" clId="Web-{1F33A609-8F94-D58C-11AD-564F68DE9DEC}" dt="2023-04-19T11:53:47.194" v="25"/>
          <ac:spMkLst>
            <pc:docMk/>
            <pc:sldMk cId="1775282822" sldId="6721"/>
            <ac:spMk id="3" creationId="{3ADD2BD4-E1DE-C82B-ABB1-1AB069BBC891}"/>
          </ac:spMkLst>
        </pc:spChg>
        <pc:spChg chg="add mod">
          <ac:chgData name="MARTIN Cyriel" userId="S::cyriel.martin@era.europa.eu::0b56f242-993b-4481-93f3-1404cce53605" providerId="AD" clId="Web-{1F33A609-8F94-D58C-11AD-564F68DE9DEC}" dt="2023-04-19T11:53:38.662" v="24" actId="1076"/>
          <ac:spMkLst>
            <pc:docMk/>
            <pc:sldMk cId="1775282822" sldId="6721"/>
            <ac:spMk id="5" creationId="{B8226CC0-EFFA-878B-53DA-15FF92B7731E}"/>
          </ac:spMkLst>
        </pc:spChg>
        <pc:spChg chg="add del mod">
          <ac:chgData name="MARTIN Cyriel" userId="S::cyriel.martin@era.europa.eu::0b56f242-993b-4481-93f3-1404cce53605" providerId="AD" clId="Web-{1F33A609-8F94-D58C-11AD-564F68DE9DEC}" dt="2023-04-19T11:53:54.444" v="26"/>
          <ac:spMkLst>
            <pc:docMk/>
            <pc:sldMk cId="1775282822" sldId="6721"/>
            <ac:spMk id="7" creationId="{EF3EE2E5-7150-5584-CDE8-BC4B26274AFE}"/>
          </ac:spMkLst>
        </pc:spChg>
        <pc:spChg chg="add mod">
          <ac:chgData name="MARTIN Cyriel" userId="S::cyriel.martin@era.europa.eu::0b56f242-993b-4481-93f3-1404cce53605" providerId="AD" clId="Web-{1F33A609-8F94-D58C-11AD-564F68DE9DEC}" dt="2023-04-19T11:56:28.970" v="45" actId="20577"/>
          <ac:spMkLst>
            <pc:docMk/>
            <pc:sldMk cId="1775282822" sldId="6721"/>
            <ac:spMk id="8" creationId="{E96CAF90-D2A5-38D3-5E8D-017602099031}"/>
          </ac:spMkLst>
        </pc:spChg>
      </pc:sldChg>
      <pc:sldChg chg="del">
        <pc:chgData name="MARTIN Cyriel" userId="S::cyriel.martin@era.europa.eu::0b56f242-993b-4481-93f3-1404cce53605" providerId="AD" clId="Web-{1F33A609-8F94-D58C-11AD-564F68DE9DEC}" dt="2023-04-19T12:03:12.121" v="125"/>
        <pc:sldMkLst>
          <pc:docMk/>
          <pc:sldMk cId="3090395432" sldId="6722"/>
        </pc:sldMkLst>
      </pc:sldChg>
      <pc:sldChg chg="del">
        <pc:chgData name="MARTIN Cyriel" userId="S::cyriel.martin@era.europa.eu::0b56f242-993b-4481-93f3-1404cce53605" providerId="AD" clId="Web-{1F33A609-8F94-D58C-11AD-564F68DE9DEC}" dt="2023-04-19T12:03:11.684" v="124"/>
        <pc:sldMkLst>
          <pc:docMk/>
          <pc:sldMk cId="569021297" sldId="6723"/>
        </pc:sldMkLst>
      </pc:sldChg>
      <pc:sldChg chg="addSp modSp add replId">
        <pc:chgData name="MARTIN Cyriel" userId="S::cyriel.martin@era.europa.eu::0b56f242-993b-4481-93f3-1404cce53605" providerId="AD" clId="Web-{1F33A609-8F94-D58C-11AD-564F68DE9DEC}" dt="2023-04-19T12:00:37.225" v="96" actId="14100"/>
        <pc:sldMkLst>
          <pc:docMk/>
          <pc:sldMk cId="3051000165" sldId="6724"/>
        </pc:sldMkLst>
        <pc:spChg chg="add mod">
          <ac:chgData name="MARTIN Cyriel" userId="S::cyriel.martin@era.europa.eu::0b56f242-993b-4481-93f3-1404cce53605" providerId="AD" clId="Web-{1F33A609-8F94-D58C-11AD-564F68DE9DEC}" dt="2023-04-19T12:00:37.225" v="96" actId="14100"/>
          <ac:spMkLst>
            <pc:docMk/>
            <pc:sldMk cId="3051000165" sldId="6724"/>
            <ac:spMk id="2" creationId="{5AA456AC-0A69-9DFD-552D-03207C8A44AE}"/>
          </ac:spMkLst>
        </pc:spChg>
        <pc:spChg chg="mod">
          <ac:chgData name="MARTIN Cyriel" userId="S::cyriel.martin@era.europa.eu::0b56f242-993b-4481-93f3-1404cce53605" providerId="AD" clId="Web-{1F33A609-8F94-D58C-11AD-564F68DE9DEC}" dt="2023-04-19T11:57:50.422" v="55" actId="20577"/>
          <ac:spMkLst>
            <pc:docMk/>
            <pc:sldMk cId="3051000165" sldId="6724"/>
            <ac:spMk id="5" creationId="{B8226CC0-EFFA-878B-53DA-15FF92B7731E}"/>
          </ac:spMkLst>
        </pc:spChg>
        <pc:spChg chg="mod">
          <ac:chgData name="MARTIN Cyriel" userId="S::cyriel.martin@era.europa.eu::0b56f242-993b-4481-93f3-1404cce53605" providerId="AD" clId="Web-{1F33A609-8F94-D58C-11AD-564F68DE9DEC}" dt="2023-04-19T11:59:33.004" v="81" actId="20577"/>
          <ac:spMkLst>
            <pc:docMk/>
            <pc:sldMk cId="3051000165" sldId="6724"/>
            <ac:spMk id="8" creationId="{E96CAF90-D2A5-38D3-5E8D-017602099031}"/>
          </ac:spMkLst>
        </pc:spChg>
      </pc:sldChg>
      <pc:sldChg chg="modSp add replId">
        <pc:chgData name="MARTIN Cyriel" userId="S::cyriel.martin@era.europa.eu::0b56f242-993b-4481-93f3-1404cce53605" providerId="AD" clId="Web-{1F33A609-8F94-D58C-11AD-564F68DE9DEC}" dt="2023-04-19T12:03:01.215" v="122" actId="1076"/>
        <pc:sldMkLst>
          <pc:docMk/>
          <pc:sldMk cId="1018213087" sldId="6725"/>
        </pc:sldMkLst>
        <pc:spChg chg="mod">
          <ac:chgData name="MARTIN Cyriel" userId="S::cyriel.martin@era.europa.eu::0b56f242-993b-4481-93f3-1404cce53605" providerId="AD" clId="Web-{1F33A609-8F94-D58C-11AD-564F68DE9DEC}" dt="2023-04-19T12:03:01.215" v="122" actId="1076"/>
          <ac:spMkLst>
            <pc:docMk/>
            <pc:sldMk cId="1018213087" sldId="6725"/>
            <ac:spMk id="2" creationId="{5AA456AC-0A69-9DFD-552D-03207C8A44AE}"/>
          </ac:spMkLst>
        </pc:spChg>
        <pc:spChg chg="mod">
          <ac:chgData name="MARTIN Cyriel" userId="S::cyriel.martin@era.europa.eu::0b56f242-993b-4481-93f3-1404cce53605" providerId="AD" clId="Web-{1F33A609-8F94-D58C-11AD-564F68DE9DEC}" dt="2023-04-19T12:02:58.465" v="121" actId="1076"/>
          <ac:spMkLst>
            <pc:docMk/>
            <pc:sldMk cId="1018213087" sldId="6725"/>
            <ac:spMk id="8" creationId="{E96CAF90-D2A5-38D3-5E8D-017602099031}"/>
          </ac:spMkLst>
        </pc:spChg>
      </pc:sldChg>
      <pc:sldChg chg="add replId">
        <pc:chgData name="MARTIN Cyriel" userId="S::cyriel.martin@era.europa.eu::0b56f242-993b-4481-93f3-1404cce53605" providerId="AD" clId="Web-{1F33A609-8F94-D58C-11AD-564F68DE9DEC}" dt="2023-04-19T12:03:11.215" v="123"/>
        <pc:sldMkLst>
          <pc:docMk/>
          <pc:sldMk cId="29420846" sldId="6726"/>
        </pc:sldMkLst>
      </pc:sldChg>
      <pc:sldChg chg="modSp add replId">
        <pc:chgData name="MARTIN Cyriel" userId="S::cyriel.martin@era.europa.eu::0b56f242-993b-4481-93f3-1404cce53605" providerId="AD" clId="Web-{1F33A609-8F94-D58C-11AD-564F68DE9DEC}" dt="2023-04-19T12:03:54.904" v="134" actId="20577"/>
        <pc:sldMkLst>
          <pc:docMk/>
          <pc:sldMk cId="3149286642" sldId="6727"/>
        </pc:sldMkLst>
        <pc:spChg chg="mod">
          <ac:chgData name="MARTIN Cyriel" userId="S::cyriel.martin@era.europa.eu::0b56f242-993b-4481-93f3-1404cce53605" providerId="AD" clId="Web-{1F33A609-8F94-D58C-11AD-564F68DE9DEC}" dt="2023-04-19T12:03:41.169" v="130" actId="20577"/>
          <ac:spMkLst>
            <pc:docMk/>
            <pc:sldMk cId="3149286642" sldId="6727"/>
            <ac:spMk id="2" creationId="{5AA456AC-0A69-9DFD-552D-03207C8A44AE}"/>
          </ac:spMkLst>
        </pc:spChg>
        <pc:spChg chg="mod">
          <ac:chgData name="MARTIN Cyriel" userId="S::cyriel.martin@era.europa.eu::0b56f242-993b-4481-93f3-1404cce53605" providerId="AD" clId="Web-{1F33A609-8F94-D58C-11AD-564F68DE9DEC}" dt="2023-04-19T12:03:54.904" v="134" actId="20577"/>
          <ac:spMkLst>
            <pc:docMk/>
            <pc:sldMk cId="3149286642" sldId="6727"/>
            <ac:spMk id="8" creationId="{E96CAF90-D2A5-38D3-5E8D-017602099031}"/>
          </ac:spMkLst>
        </pc:spChg>
      </pc:sldChg>
    </pc:docChg>
  </pc:docChgLst>
  <pc:docChgLst>
    <pc:chgData name="MARTIN Cyriel" userId="S::cyriel.martin@era.europa.eu::0b56f242-993b-4481-93f3-1404cce53605" providerId="AD" clId="Web-{4382B3A0-1F18-68CF-B7E7-88186CE2E62B}"/>
    <pc:docChg chg="addSld modSld sldOrd addMainMaster modMainMaster">
      <pc:chgData name="MARTIN Cyriel" userId="S::cyriel.martin@era.europa.eu::0b56f242-993b-4481-93f3-1404cce53605" providerId="AD" clId="Web-{4382B3A0-1F18-68CF-B7E7-88186CE2E62B}" dt="2023-04-20T09:48:39.419" v="595" actId="14100"/>
      <pc:docMkLst>
        <pc:docMk/>
      </pc:docMkLst>
      <pc:sldChg chg="addSp modSp">
        <pc:chgData name="MARTIN Cyriel" userId="S::cyriel.martin@era.europa.eu::0b56f242-993b-4481-93f3-1404cce53605" providerId="AD" clId="Web-{4382B3A0-1F18-68CF-B7E7-88186CE2E62B}" dt="2023-04-20T09:01:03.646" v="97" actId="20577"/>
        <pc:sldMkLst>
          <pc:docMk/>
          <pc:sldMk cId="1928388399" sldId="6733"/>
        </pc:sldMkLst>
        <pc:spChg chg="mod">
          <ac:chgData name="MARTIN Cyriel" userId="S::cyriel.martin@era.europa.eu::0b56f242-993b-4481-93f3-1404cce53605" providerId="AD" clId="Web-{4382B3A0-1F18-68CF-B7E7-88186CE2E62B}" dt="2023-04-20T08:50:00.439" v="21"/>
          <ac:spMkLst>
            <pc:docMk/>
            <pc:sldMk cId="1928388399" sldId="6733"/>
            <ac:spMk id="2" creationId="{8D32FF05-91CA-9C63-985E-CB7187BCFD48}"/>
          </ac:spMkLst>
        </pc:spChg>
        <pc:graphicFrameChg chg="add mod modGraphic">
          <ac:chgData name="MARTIN Cyriel" userId="S::cyriel.martin@era.europa.eu::0b56f242-993b-4481-93f3-1404cce53605" providerId="AD" clId="Web-{4382B3A0-1F18-68CF-B7E7-88186CE2E62B}" dt="2023-04-20T09:01:03.646" v="97" actId="20577"/>
          <ac:graphicFrameMkLst>
            <pc:docMk/>
            <pc:sldMk cId="1928388399" sldId="6733"/>
            <ac:graphicFrameMk id="3" creationId="{8A7FB9C4-96FD-CFA7-D51C-3D4375FE7CD4}"/>
          </ac:graphicFrameMkLst>
        </pc:graphicFrameChg>
      </pc:sldChg>
      <pc:sldChg chg="add ord">
        <pc:chgData name="MARTIN Cyriel" userId="S::cyriel.martin@era.europa.eu::0b56f242-993b-4481-93f3-1404cce53605" providerId="AD" clId="Web-{4382B3A0-1F18-68CF-B7E7-88186CE2E62B}" dt="2023-04-20T07:15:17.070" v="7"/>
        <pc:sldMkLst>
          <pc:docMk/>
          <pc:sldMk cId="1728887656" sldId="6734"/>
        </pc:sldMkLst>
      </pc:sldChg>
      <pc:sldChg chg="add ord">
        <pc:chgData name="MARTIN Cyriel" userId="S::cyriel.martin@era.europa.eu::0b56f242-993b-4481-93f3-1404cce53605" providerId="AD" clId="Web-{4382B3A0-1F18-68CF-B7E7-88186CE2E62B}" dt="2023-04-20T07:15:17.070" v="8"/>
        <pc:sldMkLst>
          <pc:docMk/>
          <pc:sldMk cId="1023399393" sldId="6735"/>
        </pc:sldMkLst>
      </pc:sldChg>
      <pc:sldChg chg="add ord">
        <pc:chgData name="MARTIN Cyriel" userId="S::cyriel.martin@era.europa.eu::0b56f242-993b-4481-93f3-1404cce53605" providerId="AD" clId="Web-{4382B3A0-1F18-68CF-B7E7-88186CE2E62B}" dt="2023-04-20T07:15:17.070" v="9"/>
        <pc:sldMkLst>
          <pc:docMk/>
          <pc:sldMk cId="613946311" sldId="6736"/>
        </pc:sldMkLst>
      </pc:sldChg>
      <pc:sldChg chg="add ord">
        <pc:chgData name="MARTIN Cyriel" userId="S::cyriel.martin@era.europa.eu::0b56f242-993b-4481-93f3-1404cce53605" providerId="AD" clId="Web-{4382B3A0-1F18-68CF-B7E7-88186CE2E62B}" dt="2023-04-20T07:15:17.070" v="10"/>
        <pc:sldMkLst>
          <pc:docMk/>
          <pc:sldMk cId="2252377011" sldId="6737"/>
        </pc:sldMkLst>
      </pc:sldChg>
      <pc:sldChg chg="add ord">
        <pc:chgData name="MARTIN Cyriel" userId="S::cyriel.martin@era.europa.eu::0b56f242-993b-4481-93f3-1404cce53605" providerId="AD" clId="Web-{4382B3A0-1F18-68CF-B7E7-88186CE2E62B}" dt="2023-04-20T07:15:17.070" v="11"/>
        <pc:sldMkLst>
          <pc:docMk/>
          <pc:sldMk cId="1293800339" sldId="6738"/>
        </pc:sldMkLst>
      </pc:sldChg>
      <pc:sldChg chg="add ord">
        <pc:chgData name="MARTIN Cyriel" userId="S::cyriel.martin@era.europa.eu::0b56f242-993b-4481-93f3-1404cce53605" providerId="AD" clId="Web-{4382B3A0-1F18-68CF-B7E7-88186CE2E62B}" dt="2023-04-20T07:15:17.070" v="12"/>
        <pc:sldMkLst>
          <pc:docMk/>
          <pc:sldMk cId="4227312332" sldId="6739"/>
        </pc:sldMkLst>
      </pc:sldChg>
      <pc:sldChg chg="add ord">
        <pc:chgData name="MARTIN Cyriel" userId="S::cyriel.martin@era.europa.eu::0b56f242-993b-4481-93f3-1404cce53605" providerId="AD" clId="Web-{4382B3A0-1F18-68CF-B7E7-88186CE2E62B}" dt="2023-04-20T07:15:17.070" v="13"/>
        <pc:sldMkLst>
          <pc:docMk/>
          <pc:sldMk cId="1706523056" sldId="6740"/>
        </pc:sldMkLst>
      </pc:sldChg>
      <pc:sldChg chg="addSp modSp new">
        <pc:chgData name="MARTIN Cyriel" userId="S::cyriel.martin@era.europa.eu::0b56f242-993b-4481-93f3-1404cce53605" providerId="AD" clId="Web-{4382B3A0-1F18-68CF-B7E7-88186CE2E62B}" dt="2023-04-20T09:18:49.850" v="253" actId="20577"/>
        <pc:sldMkLst>
          <pc:docMk/>
          <pc:sldMk cId="2255254842" sldId="6741"/>
        </pc:sldMkLst>
        <pc:spChg chg="mod">
          <ac:chgData name="MARTIN Cyriel" userId="S::cyriel.martin@era.europa.eu::0b56f242-993b-4481-93f3-1404cce53605" providerId="AD" clId="Web-{4382B3A0-1F18-68CF-B7E7-88186CE2E62B}" dt="2023-04-20T09:07:30.111" v="153" actId="20577"/>
          <ac:spMkLst>
            <pc:docMk/>
            <pc:sldMk cId="2255254842" sldId="6741"/>
            <ac:spMk id="2" creationId="{7F71DA11-2414-D9FF-C286-277B0231384F}"/>
          </ac:spMkLst>
        </pc:spChg>
        <pc:graphicFrameChg chg="add mod modGraphic">
          <ac:chgData name="MARTIN Cyriel" userId="S::cyriel.martin@era.europa.eu::0b56f242-993b-4481-93f3-1404cce53605" providerId="AD" clId="Web-{4382B3A0-1F18-68CF-B7E7-88186CE2E62B}" dt="2023-04-20T09:18:49.850" v="253" actId="20577"/>
          <ac:graphicFrameMkLst>
            <pc:docMk/>
            <pc:sldMk cId="2255254842" sldId="6741"/>
            <ac:graphicFrameMk id="3" creationId="{686C21C0-1C83-37AE-81AD-04A6E38029A5}"/>
          </ac:graphicFrameMkLst>
        </pc:graphicFrameChg>
      </pc:sldChg>
      <pc:sldChg chg="addSp delSp modSp add replId">
        <pc:chgData name="MARTIN Cyriel" userId="S::cyriel.martin@era.europa.eu::0b56f242-993b-4481-93f3-1404cce53605" providerId="AD" clId="Web-{4382B3A0-1F18-68CF-B7E7-88186CE2E62B}" dt="2023-04-20T09:05:42.686" v="126" actId="20577"/>
        <pc:sldMkLst>
          <pc:docMk/>
          <pc:sldMk cId="2401145885" sldId="6742"/>
        </pc:sldMkLst>
        <pc:spChg chg="mod">
          <ac:chgData name="MARTIN Cyriel" userId="S::cyriel.martin@era.europa.eu::0b56f242-993b-4481-93f3-1404cce53605" providerId="AD" clId="Web-{4382B3A0-1F18-68CF-B7E7-88186CE2E62B}" dt="2023-04-20T09:03:03.321" v="117" actId="20577"/>
          <ac:spMkLst>
            <pc:docMk/>
            <pc:sldMk cId="2401145885" sldId="6742"/>
            <ac:spMk id="2" creationId="{8D32FF05-91CA-9C63-985E-CB7187BCFD48}"/>
          </ac:spMkLst>
        </pc:spChg>
        <pc:spChg chg="add mod">
          <ac:chgData name="MARTIN Cyriel" userId="S::cyriel.martin@era.europa.eu::0b56f242-993b-4481-93f3-1404cce53605" providerId="AD" clId="Web-{4382B3A0-1F18-68CF-B7E7-88186CE2E62B}" dt="2023-04-20T09:05:42.686" v="126" actId="20577"/>
          <ac:spMkLst>
            <pc:docMk/>
            <pc:sldMk cId="2401145885" sldId="6742"/>
            <ac:spMk id="20" creationId="{2DA9961B-5CCF-9C82-B773-A5ADCAD27585}"/>
          </ac:spMkLst>
        </pc:spChg>
        <pc:graphicFrameChg chg="del">
          <ac:chgData name="MARTIN Cyriel" userId="S::cyriel.martin@era.europa.eu::0b56f242-993b-4481-93f3-1404cce53605" providerId="AD" clId="Web-{4382B3A0-1F18-68CF-B7E7-88186CE2E62B}" dt="2023-04-20T09:01:38.444" v="100"/>
          <ac:graphicFrameMkLst>
            <pc:docMk/>
            <pc:sldMk cId="2401145885" sldId="6742"/>
            <ac:graphicFrameMk id="3" creationId="{8A7FB9C4-96FD-CFA7-D51C-3D4375FE7CD4}"/>
          </ac:graphicFrameMkLst>
        </pc:graphicFrameChg>
        <pc:picChg chg="add mod">
          <ac:chgData name="MARTIN Cyriel" userId="S::cyriel.martin@era.europa.eu::0b56f242-993b-4481-93f3-1404cce53605" providerId="AD" clId="Web-{4382B3A0-1F18-68CF-B7E7-88186CE2E62B}" dt="2023-04-20T09:05:33.388" v="123" actId="1076"/>
          <ac:picMkLst>
            <pc:docMk/>
            <pc:sldMk cId="2401145885" sldId="6742"/>
            <ac:picMk id="18" creationId="{D4FBD1BB-0A2B-CB53-7B8D-30EB8DA2FA71}"/>
          </ac:picMkLst>
        </pc:picChg>
      </pc:sldChg>
      <pc:sldChg chg="addSp delSp modSp add replId">
        <pc:chgData name="MARTIN Cyriel" userId="S::cyriel.martin@era.europa.eu::0b56f242-993b-4481-93f3-1404cce53605" providerId="AD" clId="Web-{4382B3A0-1F18-68CF-B7E7-88186CE2E62B}" dt="2023-04-20T09:24:35.813" v="310" actId="1076"/>
        <pc:sldMkLst>
          <pc:docMk/>
          <pc:sldMk cId="756892325" sldId="6743"/>
        </pc:sldMkLst>
        <pc:spChg chg="mod">
          <ac:chgData name="MARTIN Cyriel" userId="S::cyriel.martin@era.europa.eu::0b56f242-993b-4481-93f3-1404cce53605" providerId="AD" clId="Web-{4382B3A0-1F18-68CF-B7E7-88186CE2E62B}" dt="2023-04-20T09:19:40.226" v="257" actId="20577"/>
          <ac:spMkLst>
            <pc:docMk/>
            <pc:sldMk cId="756892325" sldId="6743"/>
            <ac:spMk id="2" creationId="{7F71DA11-2414-D9FF-C286-277B0231384F}"/>
          </ac:spMkLst>
        </pc:spChg>
        <pc:graphicFrameChg chg="del">
          <ac:chgData name="MARTIN Cyriel" userId="S::cyriel.martin@era.europa.eu::0b56f242-993b-4481-93f3-1404cce53605" providerId="AD" clId="Web-{4382B3A0-1F18-68CF-B7E7-88186CE2E62B}" dt="2023-04-20T09:19:48.633" v="258"/>
          <ac:graphicFrameMkLst>
            <pc:docMk/>
            <pc:sldMk cId="756892325" sldId="6743"/>
            <ac:graphicFrameMk id="3" creationId="{686C21C0-1C83-37AE-81AD-04A6E38029A5}"/>
          </ac:graphicFrameMkLst>
        </pc:graphicFrameChg>
        <pc:graphicFrameChg chg="add mod modGraphic">
          <ac:chgData name="MARTIN Cyriel" userId="S::cyriel.martin@era.europa.eu::0b56f242-993b-4481-93f3-1404cce53605" providerId="AD" clId="Web-{4382B3A0-1F18-68CF-B7E7-88186CE2E62B}" dt="2023-04-20T09:24:13.250" v="306" actId="20577"/>
          <ac:graphicFrameMkLst>
            <pc:docMk/>
            <pc:sldMk cId="756892325" sldId="6743"/>
            <ac:graphicFrameMk id="20" creationId="{7C9B6BC6-09A2-2D5B-7EB4-E9FD86EC7C5D}"/>
          </ac:graphicFrameMkLst>
        </pc:graphicFrameChg>
        <pc:picChg chg="add del mod">
          <ac:chgData name="MARTIN Cyriel" userId="S::cyriel.martin@era.europa.eu::0b56f242-993b-4481-93f3-1404cce53605" providerId="AD" clId="Web-{4382B3A0-1F18-68CF-B7E7-88186CE2E62B}" dt="2023-04-20T09:21:08.229" v="265"/>
          <ac:picMkLst>
            <pc:docMk/>
            <pc:sldMk cId="756892325" sldId="6743"/>
            <ac:picMk id="18" creationId="{2A2B90B4-4CA6-68CA-CB0A-52D7ED92B925}"/>
          </ac:picMkLst>
        </pc:picChg>
        <pc:picChg chg="add del mod">
          <ac:chgData name="MARTIN Cyriel" userId="S::cyriel.martin@era.europa.eu::0b56f242-993b-4481-93f3-1404cce53605" providerId="AD" clId="Web-{4382B3A0-1F18-68CF-B7E7-88186CE2E62B}" dt="2023-04-20T09:21:25.229" v="268"/>
          <ac:picMkLst>
            <pc:docMk/>
            <pc:sldMk cId="756892325" sldId="6743"/>
            <ac:picMk id="19" creationId="{BA20E34D-C2E1-DBCC-1BB0-70E0E4C17D45}"/>
          </ac:picMkLst>
        </pc:picChg>
        <pc:picChg chg="add mod">
          <ac:chgData name="MARTIN Cyriel" userId="S::cyriel.martin@era.europa.eu::0b56f242-993b-4481-93f3-1404cce53605" providerId="AD" clId="Web-{4382B3A0-1F18-68CF-B7E7-88186CE2E62B}" dt="2023-04-20T09:23:45.937" v="302" actId="1076"/>
          <ac:picMkLst>
            <pc:docMk/>
            <pc:sldMk cId="756892325" sldId="6743"/>
            <ac:picMk id="251" creationId="{6FFC94EA-F440-7DE9-264A-056C37505CD0}"/>
          </ac:picMkLst>
        </pc:picChg>
        <pc:picChg chg="add mod">
          <ac:chgData name="MARTIN Cyriel" userId="S::cyriel.martin@era.europa.eu::0b56f242-993b-4481-93f3-1404cce53605" providerId="AD" clId="Web-{4382B3A0-1F18-68CF-B7E7-88186CE2E62B}" dt="2023-04-20T09:24:24.110" v="308" actId="1076"/>
          <ac:picMkLst>
            <pc:docMk/>
            <pc:sldMk cId="756892325" sldId="6743"/>
            <ac:picMk id="280" creationId="{10F53154-ED5D-7405-71BB-696CDEE680C3}"/>
          </ac:picMkLst>
        </pc:picChg>
        <pc:picChg chg="add mod">
          <ac:chgData name="MARTIN Cyriel" userId="S::cyriel.martin@era.europa.eu::0b56f242-993b-4481-93f3-1404cce53605" providerId="AD" clId="Web-{4382B3A0-1F18-68CF-B7E7-88186CE2E62B}" dt="2023-04-20T09:24:35.813" v="310" actId="1076"/>
          <ac:picMkLst>
            <pc:docMk/>
            <pc:sldMk cId="756892325" sldId="6743"/>
            <ac:picMk id="281" creationId="{53CB0EBC-13DA-EB34-1297-FA8230959B91}"/>
          </ac:picMkLst>
        </pc:picChg>
      </pc:sldChg>
      <pc:sldChg chg="addSp delSp modSp add replId">
        <pc:chgData name="MARTIN Cyriel" userId="S::cyriel.martin@era.europa.eu::0b56f242-993b-4481-93f3-1404cce53605" providerId="AD" clId="Web-{4382B3A0-1F18-68CF-B7E7-88186CE2E62B}" dt="2023-04-20T09:39:28.121" v="404"/>
        <pc:sldMkLst>
          <pc:docMk/>
          <pc:sldMk cId="3417549196" sldId="6744"/>
        </pc:sldMkLst>
        <pc:spChg chg="mod">
          <ac:chgData name="MARTIN Cyriel" userId="S::cyriel.martin@era.europa.eu::0b56f242-993b-4481-93f3-1404cce53605" providerId="AD" clId="Web-{4382B3A0-1F18-68CF-B7E7-88186CE2E62B}" dt="2023-04-20T09:25:30.690" v="319" actId="20577"/>
          <ac:spMkLst>
            <pc:docMk/>
            <pc:sldMk cId="3417549196" sldId="6744"/>
            <ac:spMk id="2" creationId="{7F71DA11-2414-D9FF-C286-277B0231384F}"/>
          </ac:spMkLst>
        </pc:spChg>
        <pc:spChg chg="add del mod">
          <ac:chgData name="MARTIN Cyriel" userId="S::cyriel.martin@era.europa.eu::0b56f242-993b-4481-93f3-1404cce53605" providerId="AD" clId="Web-{4382B3A0-1F18-68CF-B7E7-88186CE2E62B}" dt="2023-04-20T09:26:24.394" v="325"/>
          <ac:spMkLst>
            <pc:docMk/>
            <pc:sldMk cId="3417549196" sldId="6744"/>
            <ac:spMk id="17" creationId="{EE71822B-B0BD-D58D-D104-0AE66C6D82DA}"/>
          </ac:spMkLst>
        </pc:spChg>
        <pc:graphicFrameChg chg="add mod modGraphic">
          <ac:chgData name="MARTIN Cyriel" userId="S::cyriel.martin@era.europa.eu::0b56f242-993b-4481-93f3-1404cce53605" providerId="AD" clId="Web-{4382B3A0-1F18-68CF-B7E7-88186CE2E62B}" dt="2023-04-20T09:38:52.323" v="399" actId="14100"/>
          <ac:graphicFrameMkLst>
            <pc:docMk/>
            <pc:sldMk cId="3417549196" sldId="6744"/>
            <ac:graphicFrameMk id="18" creationId="{96D27582-DEA3-8BAF-0262-045C27322EF1}"/>
          </ac:graphicFrameMkLst>
        </pc:graphicFrameChg>
        <pc:graphicFrameChg chg="del">
          <ac:chgData name="MARTIN Cyriel" userId="S::cyriel.martin@era.europa.eu::0b56f242-993b-4481-93f3-1404cce53605" providerId="AD" clId="Web-{4382B3A0-1F18-68CF-B7E7-88186CE2E62B}" dt="2023-04-20T09:25:05.236" v="312"/>
          <ac:graphicFrameMkLst>
            <pc:docMk/>
            <pc:sldMk cId="3417549196" sldId="6744"/>
            <ac:graphicFrameMk id="20" creationId="{7C9B6BC6-09A2-2D5B-7EB4-E9FD86EC7C5D}"/>
          </ac:graphicFrameMkLst>
        </pc:graphicFrameChg>
        <pc:picChg chg="del">
          <ac:chgData name="MARTIN Cyriel" userId="S::cyriel.martin@era.europa.eu::0b56f242-993b-4481-93f3-1404cce53605" providerId="AD" clId="Web-{4382B3A0-1F18-68CF-B7E7-88186CE2E62B}" dt="2023-04-20T09:25:07.580" v="313"/>
          <ac:picMkLst>
            <pc:docMk/>
            <pc:sldMk cId="3417549196" sldId="6744"/>
            <ac:picMk id="251" creationId="{6FFC94EA-F440-7DE9-264A-056C37505CD0}"/>
          </ac:picMkLst>
        </pc:picChg>
        <pc:picChg chg="del">
          <ac:chgData name="MARTIN Cyriel" userId="S::cyriel.martin@era.europa.eu::0b56f242-993b-4481-93f3-1404cce53605" providerId="AD" clId="Web-{4382B3A0-1F18-68CF-B7E7-88186CE2E62B}" dt="2023-04-20T09:25:08.377" v="314"/>
          <ac:picMkLst>
            <pc:docMk/>
            <pc:sldMk cId="3417549196" sldId="6744"/>
            <ac:picMk id="280" creationId="{10F53154-ED5D-7405-71BB-696CDEE680C3}"/>
          </ac:picMkLst>
        </pc:picChg>
        <pc:picChg chg="del">
          <ac:chgData name="MARTIN Cyriel" userId="S::cyriel.martin@era.europa.eu::0b56f242-993b-4481-93f3-1404cce53605" providerId="AD" clId="Web-{4382B3A0-1F18-68CF-B7E7-88186CE2E62B}" dt="2023-04-20T09:25:08.798" v="315"/>
          <ac:picMkLst>
            <pc:docMk/>
            <pc:sldMk cId="3417549196" sldId="6744"/>
            <ac:picMk id="281" creationId="{53CB0EBC-13DA-EB34-1297-FA8230959B91}"/>
          </ac:picMkLst>
        </pc:picChg>
        <pc:picChg chg="add del mod">
          <ac:chgData name="MARTIN Cyriel" userId="S::cyriel.martin@era.europa.eu::0b56f242-993b-4481-93f3-1404cce53605" providerId="AD" clId="Web-{4382B3A0-1F18-68CF-B7E7-88186CE2E62B}" dt="2023-04-20T09:39:28.121" v="404"/>
          <ac:picMkLst>
            <pc:docMk/>
            <pc:sldMk cId="3417549196" sldId="6744"/>
            <ac:picMk id="949" creationId="{A704D58A-7DA4-E34E-974C-AD067E3AF200}"/>
          </ac:picMkLst>
        </pc:picChg>
      </pc:sldChg>
      <pc:sldChg chg="addSp delSp modSp add replId">
        <pc:chgData name="MARTIN Cyriel" userId="S::cyriel.martin@era.europa.eu::0b56f242-993b-4481-93f3-1404cce53605" providerId="AD" clId="Web-{4382B3A0-1F18-68CF-B7E7-88186CE2E62B}" dt="2023-04-20T09:47:25.791" v="557" actId="14100"/>
        <pc:sldMkLst>
          <pc:docMk/>
          <pc:sldMk cId="1002995334" sldId="6745"/>
        </pc:sldMkLst>
        <pc:spChg chg="mod">
          <ac:chgData name="MARTIN Cyriel" userId="S::cyriel.martin@era.europa.eu::0b56f242-993b-4481-93f3-1404cce53605" providerId="AD" clId="Web-{4382B3A0-1F18-68CF-B7E7-88186CE2E62B}" dt="2023-04-20T09:40:03.794" v="407" actId="20577"/>
          <ac:spMkLst>
            <pc:docMk/>
            <pc:sldMk cId="1002995334" sldId="6745"/>
            <ac:spMk id="2" creationId="{7F71DA11-2414-D9FF-C286-277B0231384F}"/>
          </ac:spMkLst>
        </pc:spChg>
        <pc:spChg chg="add mod">
          <ac:chgData name="MARTIN Cyriel" userId="S::cyriel.martin@era.europa.eu::0b56f242-993b-4481-93f3-1404cce53605" providerId="AD" clId="Web-{4382B3A0-1F18-68CF-B7E7-88186CE2E62B}" dt="2023-04-20T09:47:25.791" v="557" actId="14100"/>
          <ac:spMkLst>
            <pc:docMk/>
            <pc:sldMk cId="1002995334" sldId="6745"/>
            <ac:spMk id="17" creationId="{6E0D7112-4851-DBB1-410A-D4810608F4DC}"/>
          </ac:spMkLst>
        </pc:spChg>
        <pc:graphicFrameChg chg="del">
          <ac:chgData name="MARTIN Cyriel" userId="S::cyriel.martin@era.europa.eu::0b56f242-993b-4481-93f3-1404cce53605" providerId="AD" clId="Web-{4382B3A0-1F18-68CF-B7E7-88186CE2E62B}" dt="2023-04-20T09:40:12.669" v="408"/>
          <ac:graphicFrameMkLst>
            <pc:docMk/>
            <pc:sldMk cId="1002995334" sldId="6745"/>
            <ac:graphicFrameMk id="18" creationId="{96D27582-DEA3-8BAF-0262-045C27322EF1}"/>
          </ac:graphicFrameMkLst>
        </pc:graphicFrameChg>
        <pc:picChg chg="add del mod">
          <ac:chgData name="MARTIN Cyriel" userId="S::cyriel.martin@era.europa.eu::0b56f242-993b-4481-93f3-1404cce53605" providerId="AD" clId="Web-{4382B3A0-1F18-68CF-B7E7-88186CE2E62B}" dt="2023-04-20T09:40:46.326" v="413"/>
          <ac:picMkLst>
            <pc:docMk/>
            <pc:sldMk cId="1002995334" sldId="6745"/>
            <ac:picMk id="19" creationId="{3ADA23BE-966E-5DF6-0CB7-B39BF514416D}"/>
          </ac:picMkLst>
        </pc:picChg>
      </pc:sldChg>
      <pc:sldChg chg="modSp add replId">
        <pc:chgData name="MARTIN Cyriel" userId="S::cyriel.martin@era.europa.eu::0b56f242-993b-4481-93f3-1404cce53605" providerId="AD" clId="Web-{4382B3A0-1F18-68CF-B7E7-88186CE2E62B}" dt="2023-04-20T09:46:47.837" v="551" actId="14100"/>
        <pc:sldMkLst>
          <pc:docMk/>
          <pc:sldMk cId="2119553505" sldId="6746"/>
        </pc:sldMkLst>
        <pc:spChg chg="mod">
          <ac:chgData name="MARTIN Cyriel" userId="S::cyriel.martin@era.europa.eu::0b56f242-993b-4481-93f3-1404cce53605" providerId="AD" clId="Web-{4382B3A0-1F18-68CF-B7E7-88186CE2E62B}" dt="2023-04-20T09:46:47.837" v="551" actId="14100"/>
          <ac:spMkLst>
            <pc:docMk/>
            <pc:sldMk cId="2119553505" sldId="6746"/>
            <ac:spMk id="17" creationId="{6E0D7112-4851-DBB1-410A-D4810608F4DC}"/>
          </ac:spMkLst>
        </pc:spChg>
      </pc:sldChg>
      <pc:sldChg chg="modSp add replId">
        <pc:chgData name="MARTIN Cyriel" userId="S::cyriel.martin@era.europa.eu::0b56f242-993b-4481-93f3-1404cce53605" providerId="AD" clId="Web-{4382B3A0-1F18-68CF-B7E7-88186CE2E62B}" dt="2023-04-20T09:48:39.419" v="595" actId="14100"/>
        <pc:sldMkLst>
          <pc:docMk/>
          <pc:sldMk cId="4204003715" sldId="6747"/>
        </pc:sldMkLst>
        <pc:spChg chg="mod">
          <ac:chgData name="MARTIN Cyriel" userId="S::cyriel.martin@era.europa.eu::0b56f242-993b-4481-93f3-1404cce53605" providerId="AD" clId="Web-{4382B3A0-1F18-68CF-B7E7-88186CE2E62B}" dt="2023-04-20T09:47:47.542" v="564" actId="14100"/>
          <ac:spMkLst>
            <pc:docMk/>
            <pc:sldMk cId="4204003715" sldId="6747"/>
            <ac:spMk id="2" creationId="{7F71DA11-2414-D9FF-C286-277B0231384F}"/>
          </ac:spMkLst>
        </pc:spChg>
        <pc:spChg chg="mod">
          <ac:chgData name="MARTIN Cyriel" userId="S::cyriel.martin@era.europa.eu::0b56f242-993b-4481-93f3-1404cce53605" providerId="AD" clId="Web-{4382B3A0-1F18-68CF-B7E7-88186CE2E62B}" dt="2023-04-20T09:48:39.419" v="595" actId="14100"/>
          <ac:spMkLst>
            <pc:docMk/>
            <pc:sldMk cId="4204003715" sldId="6747"/>
            <ac:spMk id="17" creationId="{6E0D7112-4851-DBB1-410A-D4810608F4DC}"/>
          </ac:spMkLst>
        </pc:spChg>
      </pc:sldChg>
      <pc:sldMasterChg chg="add addSldLayout">
        <pc:chgData name="MARTIN Cyriel" userId="S::cyriel.martin@era.europa.eu::0b56f242-993b-4481-93f3-1404cce53605" providerId="AD" clId="Web-{4382B3A0-1F18-68CF-B7E7-88186CE2E62B}" dt="2023-04-20T07:15:03.976" v="0"/>
        <pc:sldMasterMkLst>
          <pc:docMk/>
          <pc:sldMasterMk cId="3330432209" sldId="2147483660"/>
        </pc:sldMasterMkLst>
        <pc:sldLayoutChg chg="add">
          <pc:chgData name="MARTIN Cyriel" userId="S::cyriel.martin@era.europa.eu::0b56f242-993b-4481-93f3-1404cce53605" providerId="AD" clId="Web-{4382B3A0-1F18-68CF-B7E7-88186CE2E62B}" dt="2023-04-20T07:15:03.976" v="0"/>
          <pc:sldLayoutMkLst>
            <pc:docMk/>
            <pc:sldMasterMk cId="3330432209" sldId="2147483660"/>
            <pc:sldLayoutMk cId="1516667354" sldId="2147483661"/>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2691449111" sldId="2147483662"/>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3361586428" sldId="2147483663"/>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2966874213" sldId="2147483664"/>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1767757511" sldId="2147483666"/>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3363942829" sldId="2147483667"/>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1639423230" sldId="2147483668"/>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2615036853" sldId="2147483669"/>
          </pc:sldLayoutMkLst>
        </pc:sldLayoutChg>
        <pc:sldLayoutChg chg="add">
          <pc:chgData name="MARTIN Cyriel" userId="S::cyriel.martin@era.europa.eu::0b56f242-993b-4481-93f3-1404cce53605" providerId="AD" clId="Web-{4382B3A0-1F18-68CF-B7E7-88186CE2E62B}" dt="2023-04-20T07:15:03.976" v="0"/>
          <pc:sldLayoutMkLst>
            <pc:docMk/>
            <pc:sldMasterMk cId="3330432209" sldId="2147483660"/>
            <pc:sldLayoutMk cId="14033713" sldId="2147483670"/>
          </pc:sldLayoutMkLst>
        </pc:sldLayoutChg>
      </pc:sldMasterChg>
      <pc:sldMasterChg chg="replId modSldLayout">
        <pc:chgData name="MARTIN Cyriel" userId="S::cyriel.martin@era.europa.eu::0b56f242-993b-4481-93f3-1404cce53605" providerId="AD" clId="Web-{4382B3A0-1F18-68CF-B7E7-88186CE2E62B}" dt="2023-04-20T07:15:03.976" v="0"/>
        <pc:sldMasterMkLst>
          <pc:docMk/>
          <pc:sldMasterMk cId="1226764582" sldId="2147483692"/>
        </pc:sldMasterMkLst>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2222069162" sldId="2147483691"/>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3504054665" sldId="2147483693"/>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3857739479" sldId="2147483694"/>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2717851164" sldId="2147483695"/>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2637462329" sldId="2147483696"/>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1566265119" sldId="2147483697"/>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2340100808" sldId="2147483698"/>
          </pc:sldLayoutMkLst>
        </pc:sldLayoutChg>
        <pc:sldLayoutChg chg="replId">
          <pc:chgData name="MARTIN Cyriel" userId="S::cyriel.martin@era.europa.eu::0b56f242-993b-4481-93f3-1404cce53605" providerId="AD" clId="Web-{4382B3A0-1F18-68CF-B7E7-88186CE2E62B}" dt="2023-04-20T07:15:03.976" v="0"/>
          <pc:sldLayoutMkLst>
            <pc:docMk/>
            <pc:sldMasterMk cId="1226764582" sldId="2147483692"/>
            <pc:sldLayoutMk cId="1428284689" sldId="2147483699"/>
          </pc:sldLayoutMkLst>
        </pc:sldLayoutChg>
      </pc:sldMasterChg>
    </pc:docChg>
  </pc:docChgLst>
  <pc:docChgLst>
    <pc:chgData name="MARTIN Cyriel" userId="S::cyriel.martin@era.europa.eu::0b56f242-993b-4481-93f3-1404cce53605" providerId="AD" clId="Web-{E7B891DE-6AB7-8755-9E7B-346D1AA10B66}"/>
    <pc:docChg chg="addSld delSld modSld sldOrd">
      <pc:chgData name="MARTIN Cyriel" userId="S::cyriel.martin@era.europa.eu::0b56f242-993b-4481-93f3-1404cce53605" providerId="AD" clId="Web-{E7B891DE-6AB7-8755-9E7B-346D1AA10B66}" dt="2023-04-19T13:26:52.171" v="165"/>
      <pc:docMkLst>
        <pc:docMk/>
      </pc:docMkLst>
      <pc:sldChg chg="modSp">
        <pc:chgData name="MARTIN Cyriel" userId="S::cyriel.martin@era.europa.eu::0b56f242-993b-4481-93f3-1404cce53605" providerId="AD" clId="Web-{E7B891DE-6AB7-8755-9E7B-346D1AA10B66}" dt="2023-04-19T13:20:31.972" v="156" actId="20577"/>
        <pc:sldMkLst>
          <pc:docMk/>
          <pc:sldMk cId="3355531814" sldId="267"/>
        </pc:sldMkLst>
        <pc:spChg chg="mod">
          <ac:chgData name="MARTIN Cyriel" userId="S::cyriel.martin@era.europa.eu::0b56f242-993b-4481-93f3-1404cce53605" providerId="AD" clId="Web-{E7B891DE-6AB7-8755-9E7B-346D1AA10B66}" dt="2023-04-19T13:20:31.972" v="156" actId="20577"/>
          <ac:spMkLst>
            <pc:docMk/>
            <pc:sldMk cId="3355531814" sldId="267"/>
            <ac:spMk id="15" creationId="{FA4D13F5-7829-4C46-BCCA-33ACDB72BA09}"/>
          </ac:spMkLst>
        </pc:spChg>
      </pc:sldChg>
      <pc:sldChg chg="modSp">
        <pc:chgData name="MARTIN Cyriel" userId="S::cyriel.martin@era.europa.eu::0b56f242-993b-4481-93f3-1404cce53605" providerId="AD" clId="Web-{E7B891DE-6AB7-8755-9E7B-346D1AA10B66}" dt="2023-04-19T13:22:00.068" v="164" actId="20577"/>
        <pc:sldMkLst>
          <pc:docMk/>
          <pc:sldMk cId="568042419" sldId="268"/>
        </pc:sldMkLst>
        <pc:graphicFrameChg chg="modGraphic">
          <ac:chgData name="MARTIN Cyriel" userId="S::cyriel.martin@era.europa.eu::0b56f242-993b-4481-93f3-1404cce53605" providerId="AD" clId="Web-{E7B891DE-6AB7-8755-9E7B-346D1AA10B66}" dt="2023-04-19T13:22:00.068" v="164" actId="20577"/>
          <ac:graphicFrameMkLst>
            <pc:docMk/>
            <pc:sldMk cId="568042419" sldId="268"/>
            <ac:graphicFrameMk id="4" creationId="{51424FB2-2A0C-47AB-BF6D-73EAE80E4F35}"/>
          </ac:graphicFrameMkLst>
        </pc:graphicFrameChg>
      </pc:sldChg>
      <pc:sldChg chg="modSp">
        <pc:chgData name="MARTIN Cyriel" userId="S::cyriel.martin@era.europa.eu::0b56f242-993b-4481-93f3-1404cce53605" providerId="AD" clId="Web-{E7B891DE-6AB7-8755-9E7B-346D1AA10B66}" dt="2023-04-19T13:21:07.223" v="161" actId="14100"/>
        <pc:sldMkLst>
          <pc:docMk/>
          <pc:sldMk cId="2264293547" sldId="270"/>
        </pc:sldMkLst>
        <pc:spChg chg="mod">
          <ac:chgData name="MARTIN Cyriel" userId="S::cyriel.martin@era.europa.eu::0b56f242-993b-4481-93f3-1404cce53605" providerId="AD" clId="Web-{E7B891DE-6AB7-8755-9E7B-346D1AA10B66}" dt="2023-04-19T13:21:07.223" v="161" actId="14100"/>
          <ac:spMkLst>
            <pc:docMk/>
            <pc:sldMk cId="2264293547" sldId="270"/>
            <ac:spMk id="2" creationId="{5BD68215-B9B2-4445-AFC3-C0974D3B7367}"/>
          </ac:spMkLst>
        </pc:spChg>
      </pc:sldChg>
      <pc:sldChg chg="modSp">
        <pc:chgData name="MARTIN Cyriel" userId="S::cyriel.martin@era.europa.eu::0b56f242-993b-4481-93f3-1404cce53605" providerId="AD" clId="Web-{E7B891DE-6AB7-8755-9E7B-346D1AA10B66}" dt="2023-04-19T12:14:06.813" v="59" actId="20577"/>
        <pc:sldMkLst>
          <pc:docMk/>
          <pc:sldMk cId="3516984021" sldId="1040"/>
        </pc:sldMkLst>
        <pc:graphicFrameChg chg="modGraphic">
          <ac:chgData name="MARTIN Cyriel" userId="S::cyriel.martin@era.europa.eu::0b56f242-993b-4481-93f3-1404cce53605" providerId="AD" clId="Web-{E7B891DE-6AB7-8755-9E7B-346D1AA10B66}" dt="2023-04-19T12:14:06.813" v="59" actId="20577"/>
          <ac:graphicFrameMkLst>
            <pc:docMk/>
            <pc:sldMk cId="3516984021" sldId="1040"/>
            <ac:graphicFrameMk id="4" creationId="{2B675608-214B-4E67-B5D0-E2AA524F9630}"/>
          </ac:graphicFrameMkLst>
        </pc:graphicFrameChg>
      </pc:sldChg>
      <pc:sldChg chg="modSp">
        <pc:chgData name="MARTIN Cyriel" userId="S::cyriel.martin@era.europa.eu::0b56f242-993b-4481-93f3-1404cce53605" providerId="AD" clId="Web-{E7B891DE-6AB7-8755-9E7B-346D1AA10B66}" dt="2023-04-19T13:19:28.188" v="153" actId="1076"/>
        <pc:sldMkLst>
          <pc:docMk/>
          <pc:sldMk cId="1170312264" sldId="6719"/>
        </pc:sldMkLst>
        <pc:spChg chg="mod">
          <ac:chgData name="MARTIN Cyriel" userId="S::cyriel.martin@era.europa.eu::0b56f242-993b-4481-93f3-1404cce53605" providerId="AD" clId="Web-{E7B891DE-6AB7-8755-9E7B-346D1AA10B66}" dt="2023-04-19T13:19:13.328" v="149" actId="14100"/>
          <ac:spMkLst>
            <pc:docMk/>
            <pc:sldMk cId="1170312264" sldId="6719"/>
            <ac:spMk id="2" creationId="{D2F0B72F-1C9F-AC1F-3524-DC84926030C8}"/>
          </ac:spMkLst>
        </pc:spChg>
        <pc:spChg chg="mod">
          <ac:chgData name="MARTIN Cyriel" userId="S::cyriel.martin@era.europa.eu::0b56f242-993b-4481-93f3-1404cce53605" providerId="AD" clId="Web-{E7B891DE-6AB7-8755-9E7B-346D1AA10B66}" dt="2023-04-19T13:19:28.188" v="153" actId="1076"/>
          <ac:spMkLst>
            <pc:docMk/>
            <pc:sldMk cId="1170312264" sldId="6719"/>
            <ac:spMk id="3" creationId="{15BB2FE8-9847-4BB4-7F07-A50CF75BA000}"/>
          </ac:spMkLst>
        </pc:spChg>
      </pc:sldChg>
      <pc:sldChg chg="del">
        <pc:chgData name="MARTIN Cyriel" userId="S::cyriel.martin@era.europa.eu::0b56f242-993b-4481-93f3-1404cce53605" providerId="AD" clId="Web-{E7B891DE-6AB7-8755-9E7B-346D1AA10B66}" dt="2023-04-19T12:07:34.848" v="26"/>
        <pc:sldMkLst>
          <pc:docMk/>
          <pc:sldMk cId="29420846" sldId="6726"/>
        </pc:sldMkLst>
      </pc:sldChg>
      <pc:sldChg chg="modSp">
        <pc:chgData name="MARTIN Cyriel" userId="S::cyriel.martin@era.europa.eu::0b56f242-993b-4481-93f3-1404cce53605" providerId="AD" clId="Web-{E7B891DE-6AB7-8755-9E7B-346D1AA10B66}" dt="2023-04-19T12:05:40.642" v="4" actId="20577"/>
        <pc:sldMkLst>
          <pc:docMk/>
          <pc:sldMk cId="3149286642" sldId="6727"/>
        </pc:sldMkLst>
        <pc:spChg chg="mod">
          <ac:chgData name="MARTIN Cyriel" userId="S::cyriel.martin@era.europa.eu::0b56f242-993b-4481-93f3-1404cce53605" providerId="AD" clId="Web-{E7B891DE-6AB7-8755-9E7B-346D1AA10B66}" dt="2023-04-19T12:05:40.642" v="4" actId="20577"/>
          <ac:spMkLst>
            <pc:docMk/>
            <pc:sldMk cId="3149286642" sldId="6727"/>
            <ac:spMk id="8" creationId="{E96CAF90-D2A5-38D3-5E8D-017602099031}"/>
          </ac:spMkLst>
        </pc:spChg>
      </pc:sldChg>
      <pc:sldChg chg="modSp add replId">
        <pc:chgData name="MARTIN Cyriel" userId="S::cyriel.martin@era.europa.eu::0b56f242-993b-4481-93f3-1404cce53605" providerId="AD" clId="Web-{E7B891DE-6AB7-8755-9E7B-346D1AA10B66}" dt="2023-04-19T12:06:50.128" v="25" actId="20577"/>
        <pc:sldMkLst>
          <pc:docMk/>
          <pc:sldMk cId="3393428378" sldId="6728"/>
        </pc:sldMkLst>
        <pc:spChg chg="mod">
          <ac:chgData name="MARTIN Cyriel" userId="S::cyriel.martin@era.europa.eu::0b56f242-993b-4481-93f3-1404cce53605" providerId="AD" clId="Web-{E7B891DE-6AB7-8755-9E7B-346D1AA10B66}" dt="2023-04-19T12:06:42.269" v="23" actId="1076"/>
          <ac:spMkLst>
            <pc:docMk/>
            <pc:sldMk cId="3393428378" sldId="6728"/>
            <ac:spMk id="2" creationId="{5AA456AC-0A69-9DFD-552D-03207C8A44AE}"/>
          </ac:spMkLst>
        </pc:spChg>
        <pc:spChg chg="mod">
          <ac:chgData name="MARTIN Cyriel" userId="S::cyriel.martin@era.europa.eu::0b56f242-993b-4481-93f3-1404cce53605" providerId="AD" clId="Web-{E7B891DE-6AB7-8755-9E7B-346D1AA10B66}" dt="2023-04-19T12:06:50.128" v="25" actId="20577"/>
          <ac:spMkLst>
            <pc:docMk/>
            <pc:sldMk cId="3393428378" sldId="6728"/>
            <ac:spMk id="8" creationId="{E96CAF90-D2A5-38D3-5E8D-017602099031}"/>
          </ac:spMkLst>
        </pc:spChg>
      </pc:sldChg>
      <pc:sldChg chg="addSp delSp modSp add del ord replId">
        <pc:chgData name="MARTIN Cyriel" userId="S::cyriel.martin@era.europa.eu::0b56f242-993b-4481-93f3-1404cce53605" providerId="AD" clId="Web-{E7B891DE-6AB7-8755-9E7B-346D1AA10B66}" dt="2023-04-19T13:26:52.171" v="165"/>
        <pc:sldMkLst>
          <pc:docMk/>
          <pc:sldMk cId="1344993077" sldId="6729"/>
        </pc:sldMkLst>
        <pc:spChg chg="mod">
          <ac:chgData name="MARTIN Cyriel" userId="S::cyriel.martin@era.europa.eu::0b56f242-993b-4481-93f3-1404cce53605" providerId="AD" clId="Web-{E7B891DE-6AB7-8755-9E7B-346D1AA10B66}" dt="2023-04-19T12:18:25.383" v="137" actId="1076"/>
          <ac:spMkLst>
            <pc:docMk/>
            <pc:sldMk cId="1344993077" sldId="6729"/>
            <ac:spMk id="2" creationId="{D2F0B72F-1C9F-AC1F-3524-DC84926030C8}"/>
          </ac:spMkLst>
        </pc:spChg>
        <pc:spChg chg="del">
          <ac:chgData name="MARTIN Cyriel" userId="S::cyriel.martin@era.europa.eu::0b56f242-993b-4481-93f3-1404cce53605" providerId="AD" clId="Web-{E7B891DE-6AB7-8755-9E7B-346D1AA10B66}" dt="2023-04-19T12:10:05.540" v="37"/>
          <ac:spMkLst>
            <pc:docMk/>
            <pc:sldMk cId="1344993077" sldId="6729"/>
            <ac:spMk id="3" creationId="{15BB2FE8-9847-4BB4-7F07-A50CF75BA000}"/>
          </ac:spMkLst>
        </pc:spChg>
        <pc:spChg chg="del">
          <ac:chgData name="MARTIN Cyriel" userId="S::cyriel.martin@era.europa.eu::0b56f242-993b-4481-93f3-1404cce53605" providerId="AD" clId="Web-{E7B891DE-6AB7-8755-9E7B-346D1AA10B66}" dt="2023-04-19T12:10:01.399" v="36"/>
          <ac:spMkLst>
            <pc:docMk/>
            <pc:sldMk cId="1344993077" sldId="6729"/>
            <ac:spMk id="4" creationId="{F251208A-7A45-3096-4CC1-3C466C40C558}"/>
          </ac:spMkLst>
        </pc:spChg>
        <pc:spChg chg="add del mod">
          <ac:chgData name="MARTIN Cyriel" userId="S::cyriel.martin@era.europa.eu::0b56f242-993b-4481-93f3-1404cce53605" providerId="AD" clId="Web-{E7B891DE-6AB7-8755-9E7B-346D1AA10B66}" dt="2023-04-19T12:10:19.416" v="41"/>
          <ac:spMkLst>
            <pc:docMk/>
            <pc:sldMk cId="1344993077" sldId="6729"/>
            <ac:spMk id="6" creationId="{4147E4F4-6813-23CF-2422-05DE052FF755}"/>
          </ac:spMkLst>
        </pc:spChg>
      </pc:sldChg>
      <pc:sldChg chg="add del ord replId">
        <pc:chgData name="MARTIN Cyriel" userId="S::cyriel.martin@era.europa.eu::0b56f242-993b-4481-93f3-1404cce53605" providerId="AD" clId="Web-{E7B891DE-6AB7-8755-9E7B-346D1AA10B66}" dt="2023-04-19T12:18:11.664" v="134"/>
        <pc:sldMkLst>
          <pc:docMk/>
          <pc:sldMk cId="2372664478" sldId="6730"/>
        </pc:sldMkLst>
      </pc:sldChg>
      <pc:sldChg chg="delSp new del">
        <pc:chgData name="MARTIN Cyriel" userId="S::cyriel.martin@era.europa.eu::0b56f242-993b-4481-93f3-1404cce53605" providerId="AD" clId="Web-{E7B891DE-6AB7-8755-9E7B-346D1AA10B66}" dt="2023-04-19T12:13:15.452" v="53"/>
        <pc:sldMkLst>
          <pc:docMk/>
          <pc:sldMk cId="3310744440" sldId="6730"/>
        </pc:sldMkLst>
        <pc:spChg chg="del">
          <ac:chgData name="MARTIN Cyriel" userId="S::cyriel.martin@era.europa.eu::0b56f242-993b-4481-93f3-1404cce53605" providerId="AD" clId="Web-{E7B891DE-6AB7-8755-9E7B-346D1AA10B66}" dt="2023-04-19T12:11:14.605" v="50"/>
          <ac:spMkLst>
            <pc:docMk/>
            <pc:sldMk cId="3310744440" sldId="6730"/>
            <ac:spMk id="2" creationId="{F9B3F190-CA81-0F7D-8FDF-FE2888A8E244}"/>
          </ac:spMkLst>
        </pc:spChg>
        <pc:spChg chg="del">
          <ac:chgData name="MARTIN Cyriel" userId="S::cyriel.martin@era.europa.eu::0b56f242-993b-4481-93f3-1404cce53605" providerId="AD" clId="Web-{E7B891DE-6AB7-8755-9E7B-346D1AA10B66}" dt="2023-04-19T12:11:12.542" v="49"/>
          <ac:spMkLst>
            <pc:docMk/>
            <pc:sldMk cId="3310744440" sldId="6730"/>
            <ac:spMk id="3" creationId="{EBB9CC49-03D4-5C9E-E935-150FDC670484}"/>
          </ac:spMkLst>
        </pc:spChg>
      </pc:sldChg>
      <pc:sldChg chg="new del">
        <pc:chgData name="MARTIN Cyriel" userId="S::cyriel.martin@era.europa.eu::0b56f242-993b-4481-93f3-1404cce53605" providerId="AD" clId="Web-{E7B891DE-6AB7-8755-9E7B-346D1AA10B66}" dt="2023-04-19T12:12:29.873" v="52"/>
        <pc:sldMkLst>
          <pc:docMk/>
          <pc:sldMk cId="989109230" sldId="6731"/>
        </pc:sldMkLst>
      </pc:sldChg>
      <pc:sldChg chg="addSp modSp add replId">
        <pc:chgData name="MARTIN Cyriel" userId="S::cyriel.martin@era.europa.eu::0b56f242-993b-4481-93f3-1404cce53605" providerId="AD" clId="Web-{E7B891DE-6AB7-8755-9E7B-346D1AA10B66}" dt="2023-04-19T12:18:34.930" v="139" actId="1076"/>
        <pc:sldMkLst>
          <pc:docMk/>
          <pc:sldMk cId="3158965629" sldId="6731"/>
        </pc:sldMkLst>
        <pc:spChg chg="mod">
          <ac:chgData name="MARTIN Cyriel" userId="S::cyriel.martin@era.europa.eu::0b56f242-993b-4481-93f3-1404cce53605" providerId="AD" clId="Web-{E7B891DE-6AB7-8755-9E7B-346D1AA10B66}" dt="2023-04-19T12:15:52.832" v="72" actId="14100"/>
          <ac:spMkLst>
            <pc:docMk/>
            <pc:sldMk cId="3158965629" sldId="6731"/>
            <ac:spMk id="2" creationId="{D2F0B72F-1C9F-AC1F-3524-DC84926030C8}"/>
          </ac:spMkLst>
        </pc:spChg>
        <pc:spChg chg="add mod">
          <ac:chgData name="MARTIN Cyriel" userId="S::cyriel.martin@era.europa.eu::0b56f242-993b-4481-93f3-1404cce53605" providerId="AD" clId="Web-{E7B891DE-6AB7-8755-9E7B-346D1AA10B66}" dt="2023-04-19T12:18:34.930" v="139" actId="1076"/>
          <ac:spMkLst>
            <pc:docMk/>
            <pc:sldMk cId="3158965629" sldId="6731"/>
            <ac:spMk id="3" creationId="{0B0D7909-4064-EEC6-9A42-D682F6F990BB}"/>
          </ac:spMkLst>
        </pc:spChg>
      </pc:sldChg>
      <pc:sldChg chg="add replId">
        <pc:chgData name="MARTIN Cyriel" userId="S::cyriel.martin@era.europa.eu::0b56f242-993b-4481-93f3-1404cce53605" providerId="AD" clId="Web-{E7B891DE-6AB7-8755-9E7B-346D1AA10B66}" dt="2023-04-19T13:18:33.780" v="140"/>
        <pc:sldMkLst>
          <pc:docMk/>
          <pc:sldMk cId="2743292220" sldId="6732"/>
        </pc:sldMkLst>
      </pc:sldChg>
      <pc:sldChg chg="add del replId">
        <pc:chgData name="MARTIN Cyriel" userId="S::cyriel.martin@era.europa.eu::0b56f242-993b-4481-93f3-1404cce53605" providerId="AD" clId="Web-{E7B891DE-6AB7-8755-9E7B-346D1AA10B66}" dt="2023-04-19T12:15:33.065" v="70"/>
        <pc:sldMkLst>
          <pc:docMk/>
          <pc:sldMk cId="3165828687" sldId="6732"/>
        </pc:sldMkLst>
      </pc:sldChg>
      <pc:sldChg chg="new">
        <pc:chgData name="MARTIN Cyriel" userId="S::cyriel.martin@era.europa.eu::0b56f242-993b-4481-93f3-1404cce53605" providerId="AD" clId="Web-{E7B891DE-6AB7-8755-9E7B-346D1AA10B66}" dt="2023-04-19T13:20:01.049" v="154"/>
        <pc:sldMkLst>
          <pc:docMk/>
          <pc:sldMk cId="1928388399" sldId="6733"/>
        </pc:sldMkLst>
      </pc:sldChg>
    </pc:docChg>
  </pc:docChgLst>
  <pc:docChgLst>
    <pc:chgData name="MARTIN Cyriel" userId="S::cyriel.martin@era.europa.eu::0b56f242-993b-4481-93f3-1404cce53605" providerId="AD" clId="Web-{5A92BDFE-A381-3147-C86B-83564C5AC163}"/>
    <pc:docChg chg="addSld delSld modSld">
      <pc:chgData name="MARTIN Cyriel" userId="S::cyriel.martin@era.europa.eu::0b56f242-993b-4481-93f3-1404cce53605" providerId="AD" clId="Web-{5A92BDFE-A381-3147-C86B-83564C5AC163}" dt="2023-04-20T14:49:25.585" v="190"/>
      <pc:docMkLst>
        <pc:docMk/>
      </pc:docMkLst>
      <pc:sldChg chg="addSp delSp modSp del">
        <pc:chgData name="MARTIN Cyriel" userId="S::cyriel.martin@era.europa.eu::0b56f242-993b-4481-93f3-1404cce53605" providerId="AD" clId="Web-{5A92BDFE-A381-3147-C86B-83564C5AC163}" dt="2023-04-20T14:49:25.585" v="190"/>
        <pc:sldMkLst>
          <pc:docMk/>
          <pc:sldMk cId="4222626223" sldId="6716"/>
        </pc:sldMkLst>
        <pc:graphicFrameChg chg="modGraphic">
          <ac:chgData name="MARTIN Cyriel" userId="S::cyriel.martin@era.europa.eu::0b56f242-993b-4481-93f3-1404cce53605" providerId="AD" clId="Web-{5A92BDFE-A381-3147-C86B-83564C5AC163}" dt="2023-04-20T14:39:52.651" v="67" actId="20577"/>
          <ac:graphicFrameMkLst>
            <pc:docMk/>
            <pc:sldMk cId="4222626223" sldId="6716"/>
            <ac:graphicFrameMk id="3" creationId="{BEEB274C-DFEF-4FC7-A910-D41FFBEA55DF}"/>
          </ac:graphicFrameMkLst>
        </pc:graphicFrameChg>
        <pc:picChg chg="mod">
          <ac:chgData name="MARTIN Cyriel" userId="S::cyriel.martin@era.europa.eu::0b56f242-993b-4481-93f3-1404cce53605" providerId="AD" clId="Web-{5A92BDFE-A381-3147-C86B-83564C5AC163}" dt="2023-04-20T14:32:48.033" v="31" actId="1076"/>
          <ac:picMkLst>
            <pc:docMk/>
            <pc:sldMk cId="4222626223" sldId="6716"/>
            <ac:picMk id="4" creationId="{43106C3A-DBAD-41F4-8868-0E8A14A35CF2}"/>
          </ac:picMkLst>
        </pc:picChg>
        <pc:picChg chg="add del mod">
          <ac:chgData name="MARTIN Cyriel" userId="S::cyriel.martin@era.europa.eu::0b56f242-993b-4481-93f3-1404cce53605" providerId="AD" clId="Web-{5A92BDFE-A381-3147-C86B-83564C5AC163}" dt="2023-04-20T14:36:40.678" v="59"/>
          <ac:picMkLst>
            <pc:docMk/>
            <pc:sldMk cId="4222626223" sldId="6716"/>
            <ac:picMk id="508" creationId="{9D273C24-D5FA-8717-D6F7-DF5BBC711B05}"/>
          </ac:picMkLst>
        </pc:picChg>
        <pc:picChg chg="add mod">
          <ac:chgData name="MARTIN Cyriel" userId="S::cyriel.martin@era.europa.eu::0b56f242-993b-4481-93f3-1404cce53605" providerId="AD" clId="Web-{5A92BDFE-A381-3147-C86B-83564C5AC163}" dt="2023-04-20T14:38:24.680" v="64" actId="1076"/>
          <ac:picMkLst>
            <pc:docMk/>
            <pc:sldMk cId="4222626223" sldId="6716"/>
            <ac:picMk id="509" creationId="{3342C6A9-3A20-D4CA-3D92-36DE9AF7A620}"/>
          </ac:picMkLst>
        </pc:picChg>
      </pc:sldChg>
      <pc:sldChg chg="addSp delSp modSp add replId">
        <pc:chgData name="MARTIN Cyriel" userId="S::cyriel.martin@era.europa.eu::0b56f242-993b-4481-93f3-1404cce53605" providerId="AD" clId="Web-{5A92BDFE-A381-3147-C86B-83564C5AC163}" dt="2023-04-20T14:49:22.585" v="189"/>
        <pc:sldMkLst>
          <pc:docMk/>
          <pc:sldMk cId="3988031222" sldId="6748"/>
        </pc:sldMkLst>
        <pc:graphicFrameChg chg="del">
          <ac:chgData name="MARTIN Cyriel" userId="S::cyriel.martin@era.europa.eu::0b56f242-993b-4481-93f3-1404cce53605" providerId="AD" clId="Web-{5A92BDFE-A381-3147-C86B-83564C5AC163}" dt="2023-04-20T14:41:31.012" v="69"/>
          <ac:graphicFrameMkLst>
            <pc:docMk/>
            <pc:sldMk cId="3988031222" sldId="6748"/>
            <ac:graphicFrameMk id="3" creationId="{BEEB274C-DFEF-4FC7-A910-D41FFBEA55DF}"/>
          </ac:graphicFrameMkLst>
        </pc:graphicFrameChg>
        <pc:graphicFrameChg chg="add mod modGraphic">
          <ac:chgData name="MARTIN Cyriel" userId="S::cyriel.martin@era.europa.eu::0b56f242-993b-4481-93f3-1404cce53605" providerId="AD" clId="Web-{5A92BDFE-A381-3147-C86B-83564C5AC163}" dt="2023-04-20T14:48:44.740" v="186"/>
          <ac:graphicFrameMkLst>
            <pc:docMk/>
            <pc:sldMk cId="3988031222" sldId="6748"/>
            <ac:graphicFrameMk id="25" creationId="{0FC26B37-6BCC-DDE2-9522-129253F62FAD}"/>
          </ac:graphicFrameMkLst>
        </pc:graphicFrameChg>
        <pc:picChg chg="del">
          <ac:chgData name="MARTIN Cyriel" userId="S::cyriel.martin@era.europa.eu::0b56f242-993b-4481-93f3-1404cce53605" providerId="AD" clId="Web-{5A92BDFE-A381-3147-C86B-83564C5AC163}" dt="2023-04-20T14:41:34.059" v="70"/>
          <ac:picMkLst>
            <pc:docMk/>
            <pc:sldMk cId="3988031222" sldId="6748"/>
            <ac:picMk id="4" creationId="{43106C3A-DBAD-41F4-8868-0E8A14A35CF2}"/>
          </ac:picMkLst>
        </pc:picChg>
        <pc:picChg chg="del">
          <ac:chgData name="MARTIN Cyriel" userId="S::cyriel.martin@era.europa.eu::0b56f242-993b-4481-93f3-1404cce53605" providerId="AD" clId="Web-{5A92BDFE-A381-3147-C86B-83564C5AC163}" dt="2023-04-20T14:41:34.106" v="71"/>
          <ac:picMkLst>
            <pc:docMk/>
            <pc:sldMk cId="3988031222" sldId="6748"/>
            <ac:picMk id="509" creationId="{3342C6A9-3A20-D4CA-3D92-36DE9AF7A620}"/>
          </ac:picMkLst>
        </pc:picChg>
        <pc:picChg chg="add mod">
          <ac:chgData name="MARTIN Cyriel" userId="S::cyriel.martin@era.europa.eu::0b56f242-993b-4481-93f3-1404cce53605" providerId="AD" clId="Web-{5A92BDFE-A381-3147-C86B-83564C5AC163}" dt="2023-04-20T14:47:26.567" v="179" actId="1076"/>
          <ac:picMkLst>
            <pc:docMk/>
            <pc:sldMk cId="3988031222" sldId="6748"/>
            <ac:picMk id="2538" creationId="{42EAECA2-F91F-7ABA-5FB7-CBAFB43A7F0B}"/>
          </ac:picMkLst>
        </pc:picChg>
        <pc:picChg chg="add del mod">
          <ac:chgData name="MARTIN Cyriel" userId="S::cyriel.martin@era.europa.eu::0b56f242-993b-4481-93f3-1404cce53605" providerId="AD" clId="Web-{5A92BDFE-A381-3147-C86B-83564C5AC163}" dt="2023-04-20T14:49:22.585" v="189"/>
          <ac:picMkLst>
            <pc:docMk/>
            <pc:sldMk cId="3988031222" sldId="6748"/>
            <ac:picMk id="2640" creationId="{49748830-6F2F-FC2D-28C6-FB66F8115F79}"/>
          </ac:picMkLst>
        </pc:picChg>
      </pc:sldChg>
    </pc:docChg>
  </pc:docChgLst>
  <pc:docChgLst>
    <pc:chgData name="MARTIN Cyriel" userId="0b56f242-993b-4481-93f3-1404cce53605" providerId="ADAL" clId="{33E5CD30-4556-43DE-8746-9DE98AA1DD44}"/>
    <pc:docChg chg="undo custSel addSld delSld modSld delMainMaster">
      <pc:chgData name="MARTIN Cyriel" userId="0b56f242-993b-4481-93f3-1404cce53605" providerId="ADAL" clId="{33E5CD30-4556-43DE-8746-9DE98AA1DD44}" dt="2023-04-19T09:27:34.142" v="755"/>
      <pc:docMkLst>
        <pc:docMk/>
      </pc:docMkLst>
      <pc:sldChg chg="modSp mod">
        <pc:chgData name="MARTIN Cyriel" userId="0b56f242-993b-4481-93f3-1404cce53605" providerId="ADAL" clId="{33E5CD30-4556-43DE-8746-9DE98AA1DD44}" dt="2023-04-19T07:12:41.865" v="1" actId="1076"/>
        <pc:sldMkLst>
          <pc:docMk/>
          <pc:sldMk cId="3224280352" sldId="256"/>
        </pc:sldMkLst>
        <pc:spChg chg="mod">
          <ac:chgData name="MARTIN Cyriel" userId="0b56f242-993b-4481-93f3-1404cce53605" providerId="ADAL" clId="{33E5CD30-4556-43DE-8746-9DE98AA1DD44}" dt="2023-04-19T07:12:41.865" v="1" actId="1076"/>
          <ac:spMkLst>
            <pc:docMk/>
            <pc:sldMk cId="3224280352" sldId="256"/>
            <ac:spMk id="11" creationId="{CAFCA108-0406-43EF-ACB0-DF0AFCB1C21D}"/>
          </ac:spMkLst>
        </pc:spChg>
        <pc:picChg chg="mod">
          <ac:chgData name="MARTIN Cyriel" userId="0b56f242-993b-4481-93f3-1404cce53605" providerId="ADAL" clId="{33E5CD30-4556-43DE-8746-9DE98AA1DD44}" dt="2023-04-19T07:12:25.876" v="0" actId="14826"/>
          <ac:picMkLst>
            <pc:docMk/>
            <pc:sldMk cId="3224280352" sldId="256"/>
            <ac:picMk id="3" creationId="{92B196CB-78A1-6AC7-0B76-A45BCD351A12}"/>
          </ac:picMkLst>
        </pc:picChg>
      </pc:sldChg>
      <pc:sldChg chg="del">
        <pc:chgData name="MARTIN Cyriel" userId="0b56f242-993b-4481-93f3-1404cce53605" providerId="ADAL" clId="{33E5CD30-4556-43DE-8746-9DE98AA1DD44}" dt="2023-04-19T08:11:04.696" v="248" actId="47"/>
        <pc:sldMkLst>
          <pc:docMk/>
          <pc:sldMk cId="3081359497" sldId="258"/>
        </pc:sldMkLst>
      </pc:sldChg>
      <pc:sldChg chg="del">
        <pc:chgData name="MARTIN Cyriel" userId="0b56f242-993b-4481-93f3-1404cce53605" providerId="ADAL" clId="{33E5CD30-4556-43DE-8746-9DE98AA1DD44}" dt="2023-04-19T08:11:04.273" v="247" actId="47"/>
        <pc:sldMkLst>
          <pc:docMk/>
          <pc:sldMk cId="3449827511" sldId="259"/>
        </pc:sldMkLst>
      </pc:sldChg>
      <pc:sldChg chg="del">
        <pc:chgData name="MARTIN Cyriel" userId="0b56f242-993b-4481-93f3-1404cce53605" providerId="ADAL" clId="{33E5CD30-4556-43DE-8746-9DE98AA1DD44}" dt="2023-04-19T08:11:02.595" v="244" actId="47"/>
        <pc:sldMkLst>
          <pc:docMk/>
          <pc:sldMk cId="1526421305" sldId="262"/>
        </pc:sldMkLst>
      </pc:sldChg>
      <pc:sldChg chg="del">
        <pc:chgData name="MARTIN Cyriel" userId="0b56f242-993b-4481-93f3-1404cce53605" providerId="ADAL" clId="{33E5CD30-4556-43DE-8746-9DE98AA1DD44}" dt="2023-04-19T08:11:05.126" v="249" actId="47"/>
        <pc:sldMkLst>
          <pc:docMk/>
          <pc:sldMk cId="2397380081" sldId="265"/>
        </pc:sldMkLst>
      </pc:sldChg>
      <pc:sldChg chg="modSp add mod modClrScheme chgLayout">
        <pc:chgData name="MARTIN Cyriel" userId="0b56f242-993b-4481-93f3-1404cce53605" providerId="ADAL" clId="{33E5CD30-4556-43DE-8746-9DE98AA1DD44}" dt="2023-04-19T08:41:23.695" v="453" actId="1076"/>
        <pc:sldMkLst>
          <pc:docMk/>
          <pc:sldMk cId="3355531814" sldId="267"/>
        </pc:sldMkLst>
        <pc:spChg chg="mod ord">
          <ac:chgData name="MARTIN Cyriel" userId="0b56f242-993b-4481-93f3-1404cce53605" providerId="ADAL" clId="{33E5CD30-4556-43DE-8746-9DE98AA1DD44}" dt="2023-04-19T08:41:23.695" v="453" actId="1076"/>
          <ac:spMkLst>
            <pc:docMk/>
            <pc:sldMk cId="3355531814" sldId="267"/>
            <ac:spMk id="2" creationId="{BF7C0274-61EA-46E9-8C45-48F5DF383A35}"/>
          </ac:spMkLst>
        </pc:spChg>
        <pc:spChg chg="mod">
          <ac:chgData name="MARTIN Cyriel" userId="0b56f242-993b-4481-93f3-1404cce53605" providerId="ADAL" clId="{33E5CD30-4556-43DE-8746-9DE98AA1DD44}" dt="2023-04-19T08:40:41.056" v="444" actId="207"/>
          <ac:spMkLst>
            <pc:docMk/>
            <pc:sldMk cId="3355531814" sldId="267"/>
            <ac:spMk id="4" creationId="{7B1A5889-EAB1-421A-B51E-7DB6D18D8337}"/>
          </ac:spMkLst>
        </pc:spChg>
        <pc:spChg chg="mod">
          <ac:chgData name="MARTIN Cyriel" userId="0b56f242-993b-4481-93f3-1404cce53605" providerId="ADAL" clId="{33E5CD30-4556-43DE-8746-9DE98AA1DD44}" dt="2023-04-19T08:40:45.313" v="445" actId="207"/>
          <ac:spMkLst>
            <pc:docMk/>
            <pc:sldMk cId="3355531814" sldId="267"/>
            <ac:spMk id="5" creationId="{B9E483F5-E798-4BE0-A7B1-F8AA2A476475}"/>
          </ac:spMkLst>
        </pc:spChg>
        <pc:spChg chg="mod">
          <ac:chgData name="MARTIN Cyriel" userId="0b56f242-993b-4481-93f3-1404cce53605" providerId="ADAL" clId="{33E5CD30-4556-43DE-8746-9DE98AA1DD44}" dt="2023-04-19T08:40:47.618" v="446" actId="207"/>
          <ac:spMkLst>
            <pc:docMk/>
            <pc:sldMk cId="3355531814" sldId="267"/>
            <ac:spMk id="6" creationId="{326060CE-50C9-465C-9769-309D57081C32}"/>
          </ac:spMkLst>
        </pc:spChg>
        <pc:spChg chg="mod">
          <ac:chgData name="MARTIN Cyriel" userId="0b56f242-993b-4481-93f3-1404cce53605" providerId="ADAL" clId="{33E5CD30-4556-43DE-8746-9DE98AA1DD44}" dt="2023-04-19T08:40:35.639" v="443" actId="1036"/>
          <ac:spMkLst>
            <pc:docMk/>
            <pc:sldMk cId="3355531814" sldId="267"/>
            <ac:spMk id="15" creationId="{FA4D13F5-7829-4C46-BCCA-33ACDB72BA09}"/>
          </ac:spMkLst>
        </pc:spChg>
        <pc:cxnChg chg="mod">
          <ac:chgData name="MARTIN Cyriel" userId="0b56f242-993b-4481-93f3-1404cce53605" providerId="ADAL" clId="{33E5CD30-4556-43DE-8746-9DE98AA1DD44}" dt="2023-04-19T08:40:35.639" v="443" actId="1036"/>
          <ac:cxnSpMkLst>
            <pc:docMk/>
            <pc:sldMk cId="3355531814" sldId="267"/>
            <ac:cxnSpMk id="8" creationId="{C9F6A2B3-55DE-4F94-BFE0-708D79DF8E24}"/>
          </ac:cxnSpMkLst>
        </pc:cxnChg>
        <pc:cxnChg chg="mod">
          <ac:chgData name="MARTIN Cyriel" userId="0b56f242-993b-4481-93f3-1404cce53605" providerId="ADAL" clId="{33E5CD30-4556-43DE-8746-9DE98AA1DD44}" dt="2023-04-19T08:40:35.639" v="443" actId="1036"/>
          <ac:cxnSpMkLst>
            <pc:docMk/>
            <pc:sldMk cId="3355531814" sldId="267"/>
            <ac:cxnSpMk id="10" creationId="{93687DD7-2053-43F8-96A4-52E8C31FA319}"/>
          </ac:cxnSpMkLst>
        </pc:cxnChg>
        <pc:cxnChg chg="mod">
          <ac:chgData name="MARTIN Cyriel" userId="0b56f242-993b-4481-93f3-1404cce53605" providerId="ADAL" clId="{33E5CD30-4556-43DE-8746-9DE98AA1DD44}" dt="2023-04-19T08:40:35.639" v="443" actId="1036"/>
          <ac:cxnSpMkLst>
            <pc:docMk/>
            <pc:sldMk cId="3355531814" sldId="267"/>
            <ac:cxnSpMk id="11" creationId="{0063377B-5ED2-457E-8322-03A068A71B87}"/>
          </ac:cxnSpMkLst>
        </pc:cxnChg>
      </pc:sldChg>
      <pc:sldChg chg="modSp add mod modClrScheme chgLayout">
        <pc:chgData name="MARTIN Cyriel" userId="0b56f242-993b-4481-93f3-1404cce53605" providerId="ADAL" clId="{33E5CD30-4556-43DE-8746-9DE98AA1DD44}" dt="2023-04-19T08:42:40.240" v="470" actId="1076"/>
        <pc:sldMkLst>
          <pc:docMk/>
          <pc:sldMk cId="568042419" sldId="268"/>
        </pc:sldMkLst>
        <pc:spChg chg="mod ord">
          <ac:chgData name="MARTIN Cyriel" userId="0b56f242-993b-4481-93f3-1404cce53605" providerId="ADAL" clId="{33E5CD30-4556-43DE-8746-9DE98AA1DD44}" dt="2023-04-19T08:42:40.240" v="470" actId="1076"/>
          <ac:spMkLst>
            <pc:docMk/>
            <pc:sldMk cId="568042419" sldId="268"/>
            <ac:spMk id="2" creationId="{9C103055-DF45-4D52-8A45-61A0B8DD589F}"/>
          </ac:spMkLst>
        </pc:spChg>
        <pc:graphicFrameChg chg="mod ord">
          <ac:chgData name="MARTIN Cyriel" userId="0b56f242-993b-4481-93f3-1404cce53605" providerId="ADAL" clId="{33E5CD30-4556-43DE-8746-9DE98AA1DD44}" dt="2023-04-19T08:42:14.401" v="463" actId="1076"/>
          <ac:graphicFrameMkLst>
            <pc:docMk/>
            <pc:sldMk cId="568042419" sldId="268"/>
            <ac:graphicFrameMk id="4" creationId="{51424FB2-2A0C-47AB-BF6D-73EAE80E4F35}"/>
          </ac:graphicFrameMkLst>
        </pc:graphicFrameChg>
      </pc:sldChg>
      <pc:sldChg chg="del">
        <pc:chgData name="MARTIN Cyriel" userId="0b56f242-993b-4481-93f3-1404cce53605" providerId="ADAL" clId="{33E5CD30-4556-43DE-8746-9DE98AA1DD44}" dt="2023-04-19T08:11:03.217" v="245" actId="47"/>
        <pc:sldMkLst>
          <pc:docMk/>
          <pc:sldMk cId="2876440301" sldId="268"/>
        </pc:sldMkLst>
      </pc:sldChg>
      <pc:sldChg chg="modSp add mod modClrScheme chgLayout">
        <pc:chgData name="MARTIN Cyriel" userId="0b56f242-993b-4481-93f3-1404cce53605" providerId="ADAL" clId="{33E5CD30-4556-43DE-8746-9DE98AA1DD44}" dt="2023-04-19T08:43:10.191" v="479" actId="1076"/>
        <pc:sldMkLst>
          <pc:docMk/>
          <pc:sldMk cId="3836535624" sldId="269"/>
        </pc:sldMkLst>
        <pc:spChg chg="mod ord">
          <ac:chgData name="MARTIN Cyriel" userId="0b56f242-993b-4481-93f3-1404cce53605" providerId="ADAL" clId="{33E5CD30-4556-43DE-8746-9DE98AA1DD44}" dt="2023-04-19T08:43:03.183" v="478" actId="1076"/>
          <ac:spMkLst>
            <pc:docMk/>
            <pc:sldMk cId="3836535624" sldId="269"/>
            <ac:spMk id="2" creationId="{E851F8AC-EED7-4959-854E-7DA14C314461}"/>
          </ac:spMkLst>
        </pc:spChg>
        <pc:graphicFrameChg chg="mod ord">
          <ac:chgData name="MARTIN Cyriel" userId="0b56f242-993b-4481-93f3-1404cce53605" providerId="ADAL" clId="{33E5CD30-4556-43DE-8746-9DE98AA1DD44}" dt="2023-04-19T08:43:10.191" v="479" actId="1076"/>
          <ac:graphicFrameMkLst>
            <pc:docMk/>
            <pc:sldMk cId="3836535624" sldId="269"/>
            <ac:graphicFrameMk id="4" creationId="{D4C3D2E0-9E2A-41EC-AE99-6DA465EDF287}"/>
          </ac:graphicFrameMkLst>
        </pc:graphicFrameChg>
      </pc:sldChg>
      <pc:sldChg chg="modSp add mod modClrScheme chgLayout">
        <pc:chgData name="MARTIN Cyriel" userId="0b56f242-993b-4481-93f3-1404cce53605" providerId="ADAL" clId="{33E5CD30-4556-43DE-8746-9DE98AA1DD44}" dt="2023-04-19T08:41:54.054" v="461" actId="207"/>
        <pc:sldMkLst>
          <pc:docMk/>
          <pc:sldMk cId="2264293547" sldId="270"/>
        </pc:sldMkLst>
        <pc:spChg chg="mod ord">
          <ac:chgData name="MARTIN Cyriel" userId="0b56f242-993b-4481-93f3-1404cce53605" providerId="ADAL" clId="{33E5CD30-4556-43DE-8746-9DE98AA1DD44}" dt="2023-04-19T08:41:38.830" v="457" actId="1076"/>
          <ac:spMkLst>
            <pc:docMk/>
            <pc:sldMk cId="2264293547" sldId="270"/>
            <ac:spMk id="2" creationId="{5BD68215-B9B2-4445-AFC3-C0974D3B7367}"/>
          </ac:spMkLst>
        </pc:spChg>
        <pc:spChg chg="mod ord">
          <ac:chgData name="MARTIN Cyriel" userId="0b56f242-993b-4481-93f3-1404cce53605" providerId="ADAL" clId="{33E5CD30-4556-43DE-8746-9DE98AA1DD44}" dt="2023-04-19T08:41:54.054" v="461" actId="207"/>
          <ac:spMkLst>
            <pc:docMk/>
            <pc:sldMk cId="2264293547" sldId="270"/>
            <ac:spMk id="3" creationId="{EBB9C707-37EF-4EE2-B1FE-1ED6ECA825C3}"/>
          </ac:spMkLst>
        </pc:spChg>
      </pc:sldChg>
      <pc:sldChg chg="modSp add mod modClrScheme chgLayout">
        <pc:chgData name="MARTIN Cyriel" userId="0b56f242-993b-4481-93f3-1404cce53605" providerId="ADAL" clId="{33E5CD30-4556-43DE-8746-9DE98AA1DD44}" dt="2023-04-19T08:44:23.187" v="565" actId="207"/>
        <pc:sldMkLst>
          <pc:docMk/>
          <pc:sldMk cId="3192565900" sldId="271"/>
        </pc:sldMkLst>
        <pc:spChg chg="mod ord">
          <ac:chgData name="MARTIN Cyriel" userId="0b56f242-993b-4481-93f3-1404cce53605" providerId="ADAL" clId="{33E5CD30-4556-43DE-8746-9DE98AA1DD44}" dt="2023-04-19T08:44:07.848" v="561" actId="14100"/>
          <ac:spMkLst>
            <pc:docMk/>
            <pc:sldMk cId="3192565900" sldId="271"/>
            <ac:spMk id="2" creationId="{1A0AFE8A-EB8B-459A-BFE8-236E41589385}"/>
          </ac:spMkLst>
        </pc:spChg>
        <pc:graphicFrameChg chg="mod ord modGraphic">
          <ac:chgData name="MARTIN Cyriel" userId="0b56f242-993b-4481-93f3-1404cce53605" providerId="ADAL" clId="{33E5CD30-4556-43DE-8746-9DE98AA1DD44}" dt="2023-04-19T08:44:23.187" v="565" actId="207"/>
          <ac:graphicFrameMkLst>
            <pc:docMk/>
            <pc:sldMk cId="3192565900" sldId="271"/>
            <ac:graphicFrameMk id="4" creationId="{FE49F12A-312B-4903-ABBF-7B23967A36CE}"/>
          </ac:graphicFrameMkLst>
        </pc:graphicFrameChg>
      </pc:sldChg>
      <pc:sldChg chg="del">
        <pc:chgData name="MARTIN Cyriel" userId="0b56f242-993b-4481-93f3-1404cce53605" providerId="ADAL" clId="{33E5CD30-4556-43DE-8746-9DE98AA1DD44}" dt="2023-04-19T08:11:05.738" v="250" actId="47"/>
        <pc:sldMkLst>
          <pc:docMk/>
          <pc:sldMk cId="3514877223" sldId="281"/>
        </pc:sldMkLst>
      </pc:sldChg>
      <pc:sldChg chg="del">
        <pc:chgData name="MARTIN Cyriel" userId="0b56f242-993b-4481-93f3-1404cce53605" providerId="ADAL" clId="{33E5CD30-4556-43DE-8746-9DE98AA1DD44}" dt="2023-04-19T08:11:06.439" v="251" actId="47"/>
        <pc:sldMkLst>
          <pc:docMk/>
          <pc:sldMk cId="398940053" sldId="283"/>
        </pc:sldMkLst>
      </pc:sldChg>
      <pc:sldChg chg="del">
        <pc:chgData name="MARTIN Cyriel" userId="0b56f242-993b-4481-93f3-1404cce53605" providerId="ADAL" clId="{33E5CD30-4556-43DE-8746-9DE98AA1DD44}" dt="2023-04-19T08:11:06.655" v="252" actId="47"/>
        <pc:sldMkLst>
          <pc:docMk/>
          <pc:sldMk cId="2712014573" sldId="355"/>
        </pc:sldMkLst>
      </pc:sldChg>
      <pc:sldChg chg="del">
        <pc:chgData name="MARTIN Cyriel" userId="0b56f242-993b-4481-93f3-1404cce53605" providerId="ADAL" clId="{33E5CD30-4556-43DE-8746-9DE98AA1DD44}" dt="2023-04-19T08:11:07.242" v="254" actId="47"/>
        <pc:sldMkLst>
          <pc:docMk/>
          <pc:sldMk cId="779799170" sldId="426"/>
        </pc:sldMkLst>
      </pc:sldChg>
      <pc:sldChg chg="del">
        <pc:chgData name="MARTIN Cyriel" userId="0b56f242-993b-4481-93f3-1404cce53605" providerId="ADAL" clId="{33E5CD30-4556-43DE-8746-9DE98AA1DD44}" dt="2023-04-19T08:11:07.941" v="255" actId="47"/>
        <pc:sldMkLst>
          <pc:docMk/>
          <pc:sldMk cId="2764454767" sldId="427"/>
        </pc:sldMkLst>
      </pc:sldChg>
      <pc:sldChg chg="del">
        <pc:chgData name="MARTIN Cyriel" userId="0b56f242-993b-4481-93f3-1404cce53605" providerId="ADAL" clId="{33E5CD30-4556-43DE-8746-9DE98AA1DD44}" dt="2023-04-19T08:11:09.908" v="261" actId="47"/>
        <pc:sldMkLst>
          <pc:docMk/>
          <pc:sldMk cId="2405111134" sldId="428"/>
        </pc:sldMkLst>
      </pc:sldChg>
      <pc:sldChg chg="del">
        <pc:chgData name="MARTIN Cyriel" userId="0b56f242-993b-4481-93f3-1404cce53605" providerId="ADAL" clId="{33E5CD30-4556-43DE-8746-9DE98AA1DD44}" dt="2023-04-19T08:11:06.869" v="253" actId="47"/>
        <pc:sldMkLst>
          <pc:docMk/>
          <pc:sldMk cId="1491354417" sldId="429"/>
        </pc:sldMkLst>
      </pc:sldChg>
      <pc:sldChg chg="del">
        <pc:chgData name="MARTIN Cyriel" userId="0b56f242-993b-4481-93f3-1404cce53605" providerId="ADAL" clId="{33E5CD30-4556-43DE-8746-9DE98AA1DD44}" dt="2023-04-19T08:11:08.100" v="256" actId="47"/>
        <pc:sldMkLst>
          <pc:docMk/>
          <pc:sldMk cId="1967185450" sldId="430"/>
        </pc:sldMkLst>
      </pc:sldChg>
      <pc:sldChg chg="del">
        <pc:chgData name="MARTIN Cyriel" userId="0b56f242-993b-4481-93f3-1404cce53605" providerId="ADAL" clId="{33E5CD30-4556-43DE-8746-9DE98AA1DD44}" dt="2023-04-19T08:11:08.316" v="257" actId="47"/>
        <pc:sldMkLst>
          <pc:docMk/>
          <pc:sldMk cId="3659575676" sldId="431"/>
        </pc:sldMkLst>
      </pc:sldChg>
      <pc:sldChg chg="del">
        <pc:chgData name="MARTIN Cyriel" userId="0b56f242-993b-4481-93f3-1404cce53605" providerId="ADAL" clId="{33E5CD30-4556-43DE-8746-9DE98AA1DD44}" dt="2023-04-19T08:11:08.463" v="258" actId="47"/>
        <pc:sldMkLst>
          <pc:docMk/>
          <pc:sldMk cId="1733409267" sldId="432"/>
        </pc:sldMkLst>
      </pc:sldChg>
      <pc:sldChg chg="del">
        <pc:chgData name="MARTIN Cyriel" userId="0b56f242-993b-4481-93f3-1404cce53605" providerId="ADAL" clId="{33E5CD30-4556-43DE-8746-9DE98AA1DD44}" dt="2023-04-19T08:11:08.949" v="259" actId="47"/>
        <pc:sldMkLst>
          <pc:docMk/>
          <pc:sldMk cId="196996974" sldId="433"/>
        </pc:sldMkLst>
      </pc:sldChg>
      <pc:sldChg chg="del">
        <pc:chgData name="MARTIN Cyriel" userId="0b56f242-993b-4481-93f3-1404cce53605" providerId="ADAL" clId="{33E5CD30-4556-43DE-8746-9DE98AA1DD44}" dt="2023-04-19T08:11:09.203" v="260" actId="47"/>
        <pc:sldMkLst>
          <pc:docMk/>
          <pc:sldMk cId="55396598" sldId="434"/>
        </pc:sldMkLst>
      </pc:sldChg>
      <pc:sldChg chg="addSp delSp modSp mod modClrScheme chgLayout">
        <pc:chgData name="MARTIN Cyriel" userId="0b56f242-993b-4481-93f3-1404cce53605" providerId="ADAL" clId="{33E5CD30-4556-43DE-8746-9DE98AA1DD44}" dt="2023-04-19T08:46:34.491" v="664" actId="1036"/>
        <pc:sldMkLst>
          <pc:docMk/>
          <pc:sldMk cId="3516984021" sldId="1040"/>
        </pc:sldMkLst>
        <pc:spChg chg="mod ord">
          <ac:chgData name="MARTIN Cyriel" userId="0b56f242-993b-4481-93f3-1404cce53605" providerId="ADAL" clId="{33E5CD30-4556-43DE-8746-9DE98AA1DD44}" dt="2023-04-19T08:46:34.491" v="664" actId="1036"/>
          <ac:spMkLst>
            <pc:docMk/>
            <pc:sldMk cId="3516984021" sldId="1040"/>
            <ac:spMk id="2" creationId="{FF7D7B90-D442-4339-B603-10AE10E71FF8}"/>
          </ac:spMkLst>
        </pc:spChg>
        <pc:graphicFrameChg chg="mod ord">
          <ac:chgData name="MARTIN Cyriel" userId="0b56f242-993b-4481-93f3-1404cce53605" providerId="ADAL" clId="{33E5CD30-4556-43DE-8746-9DE98AA1DD44}" dt="2023-04-19T08:46:07.968" v="644" actId="700"/>
          <ac:graphicFrameMkLst>
            <pc:docMk/>
            <pc:sldMk cId="3516984021" sldId="1040"/>
            <ac:graphicFrameMk id="4" creationId="{2B675608-214B-4E67-B5D0-E2AA524F9630}"/>
          </ac:graphicFrameMkLst>
        </pc:graphicFrameChg>
        <pc:picChg chg="add mod">
          <ac:chgData name="MARTIN Cyriel" userId="0b56f242-993b-4481-93f3-1404cce53605" providerId="ADAL" clId="{33E5CD30-4556-43DE-8746-9DE98AA1DD44}" dt="2023-04-19T07:59:08.024" v="209" actId="1076"/>
          <ac:picMkLst>
            <pc:docMk/>
            <pc:sldMk cId="3516984021" sldId="1040"/>
            <ac:picMk id="3" creationId="{6F627F9D-1F70-DF90-E219-BBE322CA52EA}"/>
          </ac:picMkLst>
        </pc:picChg>
        <pc:picChg chg="mod">
          <ac:chgData name="MARTIN Cyriel" userId="0b56f242-993b-4481-93f3-1404cce53605" providerId="ADAL" clId="{33E5CD30-4556-43DE-8746-9DE98AA1DD44}" dt="2023-04-19T07:58:57.875" v="207" actId="1038"/>
          <ac:picMkLst>
            <pc:docMk/>
            <pc:sldMk cId="3516984021" sldId="1040"/>
            <ac:picMk id="5" creationId="{C3DD7ADD-B2DB-4087-AE65-69B9FF2067F8}"/>
          </ac:picMkLst>
        </pc:picChg>
        <pc:picChg chg="add mod">
          <ac:chgData name="MARTIN Cyriel" userId="0b56f242-993b-4481-93f3-1404cce53605" providerId="ADAL" clId="{33E5CD30-4556-43DE-8746-9DE98AA1DD44}" dt="2023-04-19T07:59:14.756" v="214" actId="1035"/>
          <ac:picMkLst>
            <pc:docMk/>
            <pc:sldMk cId="3516984021" sldId="1040"/>
            <ac:picMk id="6" creationId="{C4FB712E-FACD-942E-9DD3-08B9AA10B4A7}"/>
          </ac:picMkLst>
        </pc:picChg>
        <pc:picChg chg="add mod">
          <ac:chgData name="MARTIN Cyriel" userId="0b56f242-993b-4481-93f3-1404cce53605" providerId="ADAL" clId="{33E5CD30-4556-43DE-8746-9DE98AA1DD44}" dt="2023-04-19T07:59:36.737" v="222" actId="1035"/>
          <ac:picMkLst>
            <pc:docMk/>
            <pc:sldMk cId="3516984021" sldId="1040"/>
            <ac:picMk id="7" creationId="{BB10D9BF-4911-9429-5D5B-2BA688E7FB2F}"/>
          </ac:picMkLst>
        </pc:picChg>
        <pc:picChg chg="add mod">
          <ac:chgData name="MARTIN Cyriel" userId="0b56f242-993b-4481-93f3-1404cce53605" providerId="ADAL" clId="{33E5CD30-4556-43DE-8746-9DE98AA1DD44}" dt="2023-04-19T08:07:49.705" v="231" actId="1076"/>
          <ac:picMkLst>
            <pc:docMk/>
            <pc:sldMk cId="3516984021" sldId="1040"/>
            <ac:picMk id="9" creationId="{C7DB0A92-56F5-2B30-063E-68625E59E972}"/>
          </ac:picMkLst>
        </pc:picChg>
        <pc:picChg chg="add mod">
          <ac:chgData name="MARTIN Cyriel" userId="0b56f242-993b-4481-93f3-1404cce53605" providerId="ADAL" clId="{33E5CD30-4556-43DE-8746-9DE98AA1DD44}" dt="2023-04-19T08:08:00.981" v="237" actId="1036"/>
          <ac:picMkLst>
            <pc:docMk/>
            <pc:sldMk cId="3516984021" sldId="1040"/>
            <ac:picMk id="10" creationId="{647E014C-82E7-2F53-1741-812D9011D1E2}"/>
          </ac:picMkLst>
        </pc:picChg>
        <pc:picChg chg="add mod">
          <ac:chgData name="MARTIN Cyriel" userId="0b56f242-993b-4481-93f3-1404cce53605" providerId="ADAL" clId="{33E5CD30-4556-43DE-8746-9DE98AA1DD44}" dt="2023-04-19T08:08:07.827" v="241" actId="1035"/>
          <ac:picMkLst>
            <pc:docMk/>
            <pc:sldMk cId="3516984021" sldId="1040"/>
            <ac:picMk id="11" creationId="{D27C5989-B5A4-53D3-1203-74C457510346}"/>
          </ac:picMkLst>
        </pc:picChg>
        <pc:picChg chg="del mod">
          <ac:chgData name="MARTIN Cyriel" userId="0b56f242-993b-4481-93f3-1404cce53605" providerId="ADAL" clId="{33E5CD30-4556-43DE-8746-9DE98AA1DD44}" dt="2023-04-19T07:58:49.130" v="197" actId="478"/>
          <ac:picMkLst>
            <pc:docMk/>
            <pc:sldMk cId="3516984021" sldId="1040"/>
            <ac:picMk id="13" creationId="{B27ECB63-7E23-4278-A7FD-6E4C600071B5}"/>
          </ac:picMkLst>
        </pc:picChg>
        <pc:picChg chg="del">
          <ac:chgData name="MARTIN Cyriel" userId="0b56f242-993b-4481-93f3-1404cce53605" providerId="ADAL" clId="{33E5CD30-4556-43DE-8746-9DE98AA1DD44}" dt="2023-04-19T07:59:39.880" v="223" actId="478"/>
          <ac:picMkLst>
            <pc:docMk/>
            <pc:sldMk cId="3516984021" sldId="1040"/>
            <ac:picMk id="14" creationId="{A9C81F98-3E46-4F95-84FE-2F8152B18F2F}"/>
          </ac:picMkLst>
        </pc:picChg>
        <pc:picChg chg="del">
          <ac:chgData name="MARTIN Cyriel" userId="0b56f242-993b-4481-93f3-1404cce53605" providerId="ADAL" clId="{33E5CD30-4556-43DE-8746-9DE98AA1DD44}" dt="2023-04-19T07:59:40.935" v="224" actId="478"/>
          <ac:picMkLst>
            <pc:docMk/>
            <pc:sldMk cId="3516984021" sldId="1040"/>
            <ac:picMk id="16" creationId="{9A6B2C18-5550-41E6-98C8-3099BACB3B55}"/>
          </ac:picMkLst>
        </pc:picChg>
      </pc:sldChg>
      <pc:sldChg chg="del">
        <pc:chgData name="MARTIN Cyriel" userId="0b56f242-993b-4481-93f3-1404cce53605" providerId="ADAL" clId="{33E5CD30-4556-43DE-8746-9DE98AA1DD44}" dt="2023-04-19T08:11:01.540" v="243" actId="47"/>
        <pc:sldMkLst>
          <pc:docMk/>
          <pc:sldMk cId="3347286981" sldId="1072"/>
        </pc:sldMkLst>
      </pc:sldChg>
      <pc:sldChg chg="addSp delSp modSp mod modClrScheme chgLayout">
        <pc:chgData name="MARTIN Cyriel" userId="0b56f242-993b-4481-93f3-1404cce53605" providerId="ADAL" clId="{33E5CD30-4556-43DE-8746-9DE98AA1DD44}" dt="2023-04-19T08:45:18.784" v="598" actId="1076"/>
        <pc:sldMkLst>
          <pc:docMk/>
          <pc:sldMk cId="2416330417" sldId="6715"/>
        </pc:sldMkLst>
        <pc:spChg chg="add del mod ord">
          <ac:chgData name="MARTIN Cyriel" userId="0b56f242-993b-4481-93f3-1404cce53605" providerId="ADAL" clId="{33E5CD30-4556-43DE-8746-9DE98AA1DD44}" dt="2023-04-19T08:44:34.942" v="567" actId="478"/>
          <ac:spMkLst>
            <pc:docMk/>
            <pc:sldMk cId="2416330417" sldId="6715"/>
            <ac:spMk id="2" creationId="{D755108D-1EFC-36DD-6FE7-01ADE25AED58}"/>
          </ac:spMkLst>
        </pc:spChg>
        <pc:spChg chg="mod">
          <ac:chgData name="MARTIN Cyriel" userId="0b56f242-993b-4481-93f3-1404cce53605" providerId="ADAL" clId="{33E5CD30-4556-43DE-8746-9DE98AA1DD44}" dt="2023-04-19T08:45:18.784" v="598" actId="1076"/>
          <ac:spMkLst>
            <pc:docMk/>
            <pc:sldMk cId="2416330417" sldId="6715"/>
            <ac:spMk id="4" creationId="{1CC0B138-8A0E-4507-9D5E-068F51C7760D}"/>
          </ac:spMkLst>
        </pc:spChg>
        <pc:picChg chg="mod">
          <ac:chgData name="MARTIN Cyriel" userId="0b56f242-993b-4481-93f3-1404cce53605" providerId="ADAL" clId="{33E5CD30-4556-43DE-8746-9DE98AA1DD44}" dt="2023-04-19T08:21:38.632" v="262" actId="14826"/>
          <ac:picMkLst>
            <pc:docMk/>
            <pc:sldMk cId="2416330417" sldId="6715"/>
            <ac:picMk id="3" creationId="{9338E21E-256D-4191-ADB6-7EC474F2EA94}"/>
          </ac:picMkLst>
        </pc:picChg>
      </pc:sldChg>
      <pc:sldChg chg="modSp mod modClrScheme chgLayout">
        <pc:chgData name="MARTIN Cyriel" userId="0b56f242-993b-4481-93f3-1404cce53605" providerId="ADAL" clId="{33E5CD30-4556-43DE-8746-9DE98AA1DD44}" dt="2023-04-19T08:45:55.977" v="643" actId="207"/>
        <pc:sldMkLst>
          <pc:docMk/>
          <pc:sldMk cId="4222626223" sldId="6716"/>
        </pc:sldMkLst>
        <pc:spChg chg="mod ord">
          <ac:chgData name="MARTIN Cyriel" userId="0b56f242-993b-4481-93f3-1404cce53605" providerId="ADAL" clId="{33E5CD30-4556-43DE-8746-9DE98AA1DD44}" dt="2023-04-19T08:45:51.510" v="642" actId="1037"/>
          <ac:spMkLst>
            <pc:docMk/>
            <pc:sldMk cId="4222626223" sldId="6716"/>
            <ac:spMk id="2" creationId="{190E6E8C-7D3B-496C-B52D-67E89E6AA144}"/>
          </ac:spMkLst>
        </pc:spChg>
        <pc:spChg chg="mod">
          <ac:chgData name="MARTIN Cyriel" userId="0b56f242-993b-4481-93f3-1404cce53605" providerId="ADAL" clId="{33E5CD30-4556-43DE-8746-9DE98AA1DD44}" dt="2023-04-19T08:45:55.977" v="643" actId="207"/>
          <ac:spMkLst>
            <pc:docMk/>
            <pc:sldMk cId="4222626223" sldId="6716"/>
            <ac:spMk id="5" creationId="{C69B5737-2498-42BC-8E24-AA9B47DF315B}"/>
          </ac:spMkLst>
        </pc:spChg>
        <pc:graphicFrameChg chg="mod modGraphic">
          <ac:chgData name="MARTIN Cyriel" userId="0b56f242-993b-4481-93f3-1404cce53605" providerId="ADAL" clId="{33E5CD30-4556-43DE-8746-9DE98AA1DD44}" dt="2023-04-19T08:44:49.669" v="571" actId="207"/>
          <ac:graphicFrameMkLst>
            <pc:docMk/>
            <pc:sldMk cId="4222626223" sldId="6716"/>
            <ac:graphicFrameMk id="3" creationId="{BEEB274C-DFEF-4FC7-A910-D41FFBEA55DF}"/>
          </ac:graphicFrameMkLst>
        </pc:graphicFrameChg>
        <pc:picChg chg="mod">
          <ac:chgData name="MARTIN Cyriel" userId="0b56f242-993b-4481-93f3-1404cce53605" providerId="ADAL" clId="{33E5CD30-4556-43DE-8746-9DE98AA1DD44}" dt="2023-04-19T08:30:48.567" v="350" actId="1076"/>
          <ac:picMkLst>
            <pc:docMk/>
            <pc:sldMk cId="4222626223" sldId="6716"/>
            <ac:picMk id="4" creationId="{43106C3A-DBAD-41F4-8868-0E8A14A35CF2}"/>
          </ac:picMkLst>
        </pc:picChg>
        <pc:picChg chg="mod">
          <ac:chgData name="MARTIN Cyriel" userId="0b56f242-993b-4481-93f3-1404cce53605" providerId="ADAL" clId="{33E5CD30-4556-43DE-8746-9DE98AA1DD44}" dt="2023-04-19T08:21:47.732" v="263" actId="14826"/>
          <ac:picMkLst>
            <pc:docMk/>
            <pc:sldMk cId="4222626223" sldId="6716"/>
            <ac:picMk id="6" creationId="{07AD4809-EFE6-4135-9028-74C3FDEA681F}"/>
          </ac:picMkLst>
        </pc:picChg>
      </pc:sldChg>
      <pc:sldChg chg="del">
        <pc:chgData name="MARTIN Cyriel" userId="0b56f242-993b-4481-93f3-1404cce53605" providerId="ADAL" clId="{33E5CD30-4556-43DE-8746-9DE98AA1DD44}" dt="2023-04-19T08:11:03.753" v="246" actId="47"/>
        <pc:sldMkLst>
          <pc:docMk/>
          <pc:sldMk cId="608474808" sldId="6717"/>
        </pc:sldMkLst>
      </pc:sldChg>
      <pc:sldChg chg="new del">
        <pc:chgData name="MARTIN Cyriel" userId="0b56f242-993b-4481-93f3-1404cce53605" providerId="ADAL" clId="{33E5CD30-4556-43DE-8746-9DE98AA1DD44}" dt="2023-04-19T08:36:27.856" v="355" actId="47"/>
        <pc:sldMkLst>
          <pc:docMk/>
          <pc:sldMk cId="2536405621" sldId="6717"/>
        </pc:sldMkLst>
      </pc:sldChg>
      <pc:sldChg chg="addSp delSp new del mod">
        <pc:chgData name="MARTIN Cyriel" userId="0b56f242-993b-4481-93f3-1404cce53605" providerId="ADAL" clId="{33E5CD30-4556-43DE-8746-9DE98AA1DD44}" dt="2023-04-19T08:37:11.082" v="359" actId="2696"/>
        <pc:sldMkLst>
          <pc:docMk/>
          <pc:sldMk cId="388682671" sldId="6718"/>
        </pc:sldMkLst>
        <pc:spChg chg="add del">
          <ac:chgData name="MARTIN Cyriel" userId="0b56f242-993b-4481-93f3-1404cce53605" providerId="ADAL" clId="{33E5CD30-4556-43DE-8746-9DE98AA1DD44}" dt="2023-04-19T08:37:06.116" v="358" actId="22"/>
          <ac:spMkLst>
            <pc:docMk/>
            <pc:sldMk cId="388682671" sldId="6718"/>
            <ac:spMk id="7" creationId="{5B5E07C7-3591-869D-AE60-CF38934F55A2}"/>
          </ac:spMkLst>
        </pc:spChg>
      </pc:sldChg>
      <pc:sldChg chg="addSp delSp modSp new mod modClrScheme chgLayout">
        <pc:chgData name="MARTIN Cyriel" userId="0b56f242-993b-4481-93f3-1404cce53605" providerId="ADAL" clId="{33E5CD30-4556-43DE-8746-9DE98AA1DD44}" dt="2023-04-19T08:39:22.554" v="414" actId="962"/>
        <pc:sldMkLst>
          <pc:docMk/>
          <pc:sldMk cId="1170312264" sldId="6719"/>
        </pc:sldMkLst>
        <pc:spChg chg="mod ord">
          <ac:chgData name="MARTIN Cyriel" userId="0b56f242-993b-4481-93f3-1404cce53605" providerId="ADAL" clId="{33E5CD30-4556-43DE-8746-9DE98AA1DD44}" dt="2023-04-19T08:38:37.669" v="407" actId="1076"/>
          <ac:spMkLst>
            <pc:docMk/>
            <pc:sldMk cId="1170312264" sldId="6719"/>
            <ac:spMk id="2" creationId="{D2F0B72F-1C9F-AC1F-3524-DC84926030C8}"/>
          </ac:spMkLst>
        </pc:spChg>
        <pc:spChg chg="mod ord">
          <ac:chgData name="MARTIN Cyriel" userId="0b56f242-993b-4481-93f3-1404cce53605" providerId="ADAL" clId="{33E5CD30-4556-43DE-8746-9DE98AA1DD44}" dt="2023-04-19T08:38:26.141" v="404" actId="1076"/>
          <ac:spMkLst>
            <pc:docMk/>
            <pc:sldMk cId="1170312264" sldId="6719"/>
            <ac:spMk id="3" creationId="{15BB2FE8-9847-4BB4-7F07-A50CF75BA000}"/>
          </ac:spMkLst>
        </pc:spChg>
        <pc:spChg chg="del mod ord">
          <ac:chgData name="MARTIN Cyriel" userId="0b56f242-993b-4481-93f3-1404cce53605" providerId="ADAL" clId="{33E5CD30-4556-43DE-8746-9DE98AA1DD44}" dt="2023-04-19T08:38:59.909" v="410" actId="478"/>
          <ac:spMkLst>
            <pc:docMk/>
            <pc:sldMk cId="1170312264" sldId="6719"/>
            <ac:spMk id="4" creationId="{FF541078-0004-9F6D-E0C9-4F6A422E8435}"/>
          </ac:spMkLst>
        </pc:spChg>
        <pc:spChg chg="del mod ord">
          <ac:chgData name="MARTIN Cyriel" userId="0b56f242-993b-4481-93f3-1404cce53605" providerId="ADAL" clId="{33E5CD30-4556-43DE-8746-9DE98AA1DD44}" dt="2023-04-19T08:37:55.138" v="399" actId="700"/>
          <ac:spMkLst>
            <pc:docMk/>
            <pc:sldMk cId="1170312264" sldId="6719"/>
            <ac:spMk id="5" creationId="{3C60B026-D040-541D-80C1-82EA6634D9FA}"/>
          </ac:spMkLst>
        </pc:spChg>
        <pc:spChg chg="add del mod ord">
          <ac:chgData name="MARTIN Cyriel" userId="0b56f242-993b-4481-93f3-1404cce53605" providerId="ADAL" clId="{33E5CD30-4556-43DE-8746-9DE98AA1DD44}" dt="2023-04-19T08:39:19.333" v="412" actId="931"/>
          <ac:spMkLst>
            <pc:docMk/>
            <pc:sldMk cId="1170312264" sldId="6719"/>
            <ac:spMk id="6" creationId="{313AE751-3B5A-2B85-1AE9-38CDE4AD4C58}"/>
          </ac:spMkLst>
        </pc:spChg>
        <pc:picChg chg="add mod">
          <ac:chgData name="MARTIN Cyriel" userId="0b56f242-993b-4481-93f3-1404cce53605" providerId="ADAL" clId="{33E5CD30-4556-43DE-8746-9DE98AA1DD44}" dt="2023-04-19T08:39:22.554" v="414" actId="962"/>
          <ac:picMkLst>
            <pc:docMk/>
            <pc:sldMk cId="1170312264" sldId="6719"/>
            <ac:picMk id="8" creationId="{C4515A18-A01A-537E-3D82-38AF1C3BAC73}"/>
          </ac:picMkLst>
        </pc:picChg>
      </pc:sldChg>
      <pc:sldChg chg="add del">
        <pc:chgData name="MARTIN Cyriel" userId="0b56f242-993b-4481-93f3-1404cce53605" providerId="ADAL" clId="{33E5CD30-4556-43DE-8746-9DE98AA1DD44}" dt="2023-04-19T08:48:06" v="666"/>
        <pc:sldMkLst>
          <pc:docMk/>
          <pc:sldMk cId="852889967" sldId="6720"/>
        </pc:sldMkLst>
      </pc:sldChg>
      <pc:sldChg chg="addSp modSp add mod">
        <pc:chgData name="MARTIN Cyriel" userId="0b56f242-993b-4481-93f3-1404cce53605" providerId="ADAL" clId="{33E5CD30-4556-43DE-8746-9DE98AA1DD44}" dt="2023-04-19T08:50:49.864" v="741" actId="1076"/>
        <pc:sldMkLst>
          <pc:docMk/>
          <pc:sldMk cId="4049336235" sldId="6720"/>
        </pc:sldMkLst>
        <pc:spChg chg="mod">
          <ac:chgData name="MARTIN Cyriel" userId="0b56f242-993b-4481-93f3-1404cce53605" providerId="ADAL" clId="{33E5CD30-4556-43DE-8746-9DE98AA1DD44}" dt="2023-04-19T08:48:45.937" v="730" actId="20577"/>
          <ac:spMkLst>
            <pc:docMk/>
            <pc:sldMk cId="4049336235" sldId="6720"/>
            <ac:spMk id="2" creationId="{D2F0B72F-1C9F-AC1F-3524-DC84926030C8}"/>
          </ac:spMkLst>
        </pc:spChg>
        <pc:spChg chg="mod">
          <ac:chgData name="MARTIN Cyriel" userId="0b56f242-993b-4481-93f3-1404cce53605" providerId="ADAL" clId="{33E5CD30-4556-43DE-8746-9DE98AA1DD44}" dt="2023-04-19T08:50:49.864" v="741" actId="1076"/>
          <ac:spMkLst>
            <pc:docMk/>
            <pc:sldMk cId="4049336235" sldId="6720"/>
            <ac:spMk id="3" creationId="{15BB2FE8-9847-4BB4-7F07-A50CF75BA000}"/>
          </ac:spMkLst>
        </pc:spChg>
        <pc:spChg chg="add mod">
          <ac:chgData name="MARTIN Cyriel" userId="0b56f242-993b-4481-93f3-1404cce53605" providerId="ADAL" clId="{33E5CD30-4556-43DE-8746-9DE98AA1DD44}" dt="2023-04-19T08:50:42.771" v="740" actId="255"/>
          <ac:spMkLst>
            <pc:docMk/>
            <pc:sldMk cId="4049336235" sldId="6720"/>
            <ac:spMk id="4" creationId="{F251208A-7A45-3096-4CC1-3C466C40C558}"/>
          </ac:spMkLst>
        </pc:spChg>
      </pc:sldChg>
      <pc:sldChg chg="modSp new mod">
        <pc:chgData name="MARTIN Cyriel" userId="0b56f242-993b-4481-93f3-1404cce53605" providerId="ADAL" clId="{33E5CD30-4556-43DE-8746-9DE98AA1DD44}" dt="2023-04-19T09:27:28.346" v="751" actId="255"/>
        <pc:sldMkLst>
          <pc:docMk/>
          <pc:sldMk cId="1775282822" sldId="6721"/>
        </pc:sldMkLst>
        <pc:spChg chg="mod">
          <ac:chgData name="MARTIN Cyriel" userId="0b56f242-993b-4481-93f3-1404cce53605" providerId="ADAL" clId="{33E5CD30-4556-43DE-8746-9DE98AA1DD44}" dt="2023-04-19T09:27:28.346" v="751" actId="255"/>
          <ac:spMkLst>
            <pc:docMk/>
            <pc:sldMk cId="1775282822" sldId="6721"/>
            <ac:spMk id="3" creationId="{3ADD2BD4-E1DE-C82B-ABB1-1AB069BBC891}"/>
          </ac:spMkLst>
        </pc:spChg>
      </pc:sldChg>
      <pc:sldChg chg="add">
        <pc:chgData name="MARTIN Cyriel" userId="0b56f242-993b-4481-93f3-1404cce53605" providerId="ADAL" clId="{33E5CD30-4556-43DE-8746-9DE98AA1DD44}" dt="2023-04-19T09:27:33.563" v="754"/>
        <pc:sldMkLst>
          <pc:docMk/>
          <pc:sldMk cId="3090395432" sldId="6722"/>
        </pc:sldMkLst>
      </pc:sldChg>
      <pc:sldChg chg="new del">
        <pc:chgData name="MARTIN Cyriel" userId="0b56f242-993b-4481-93f3-1404cce53605" providerId="ADAL" clId="{33E5CD30-4556-43DE-8746-9DE98AA1DD44}" dt="2023-04-19T09:27:30.560" v="752" actId="47"/>
        <pc:sldMkLst>
          <pc:docMk/>
          <pc:sldMk cId="3545572967" sldId="6722"/>
        </pc:sldMkLst>
      </pc:sldChg>
      <pc:sldChg chg="add">
        <pc:chgData name="MARTIN Cyriel" userId="0b56f242-993b-4481-93f3-1404cce53605" providerId="ADAL" clId="{33E5CD30-4556-43DE-8746-9DE98AA1DD44}" dt="2023-04-19T09:27:34.142" v="755"/>
        <pc:sldMkLst>
          <pc:docMk/>
          <pc:sldMk cId="569021297" sldId="6723"/>
        </pc:sldMkLst>
      </pc:sldChg>
      <pc:sldChg chg="new del">
        <pc:chgData name="MARTIN Cyriel" userId="0b56f242-993b-4481-93f3-1404cce53605" providerId="ADAL" clId="{33E5CD30-4556-43DE-8746-9DE98AA1DD44}" dt="2023-04-19T09:27:31.636" v="753" actId="47"/>
        <pc:sldMkLst>
          <pc:docMk/>
          <pc:sldMk cId="2081523690" sldId="6723"/>
        </pc:sldMkLst>
      </pc:sldChg>
      <pc:sldMasterChg chg="del delSldLayout">
        <pc:chgData name="MARTIN Cyriel" userId="0b56f242-993b-4481-93f3-1404cce53605" providerId="ADAL" clId="{33E5CD30-4556-43DE-8746-9DE98AA1DD44}" dt="2023-04-19T08:46:07.968" v="644" actId="700"/>
        <pc:sldMasterMkLst>
          <pc:docMk/>
          <pc:sldMasterMk cId="671066940" sldId="2147483652"/>
        </pc:sldMasterMkLst>
        <pc:sldLayoutChg chg="del">
          <pc:chgData name="MARTIN Cyriel" userId="0b56f242-993b-4481-93f3-1404cce53605" providerId="ADAL" clId="{33E5CD30-4556-43DE-8746-9DE98AA1DD44}" dt="2023-04-19T08:46:07.968" v="644" actId="700"/>
          <pc:sldLayoutMkLst>
            <pc:docMk/>
            <pc:sldMasterMk cId="671066940" sldId="2147483652"/>
            <pc:sldLayoutMk cId="2304299100" sldId="2147483653"/>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3919594476" sldId="2147483654"/>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3537519762" sldId="2147483655"/>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2107064281" sldId="2147483656"/>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134329957" sldId="2147483657"/>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1541832014" sldId="2147483658"/>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3286759631" sldId="2147483659"/>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640543123" sldId="2147483660"/>
          </pc:sldLayoutMkLst>
        </pc:sldLayoutChg>
        <pc:sldLayoutChg chg="del">
          <pc:chgData name="MARTIN Cyriel" userId="0b56f242-993b-4481-93f3-1404cce53605" providerId="ADAL" clId="{33E5CD30-4556-43DE-8746-9DE98AA1DD44}" dt="2023-04-19T08:46:07.968" v="644" actId="700"/>
          <pc:sldLayoutMkLst>
            <pc:docMk/>
            <pc:sldMasterMk cId="671066940" sldId="2147483652"/>
            <pc:sldLayoutMk cId="2936793212" sldId="2147483691"/>
          </pc:sldLayoutMkLst>
        </pc:sldLayoutChg>
      </pc:sldMasterChg>
      <pc:sldMasterChg chg="del delSldLayout">
        <pc:chgData name="MARTIN Cyriel" userId="0b56f242-993b-4481-93f3-1404cce53605" providerId="ADAL" clId="{33E5CD30-4556-43DE-8746-9DE98AA1DD44}" dt="2023-04-19T08:11:05.126" v="249" actId="47"/>
        <pc:sldMasterMkLst>
          <pc:docMk/>
          <pc:sldMasterMk cId="439156010" sldId="2147483691"/>
        </pc:sldMasterMkLst>
        <pc:sldLayoutChg chg="del">
          <pc:chgData name="MARTIN Cyriel" userId="0b56f242-993b-4481-93f3-1404cce53605" providerId="ADAL" clId="{33E5CD30-4556-43DE-8746-9DE98AA1DD44}" dt="2023-04-19T08:11:05.126" v="249" actId="47"/>
          <pc:sldLayoutMkLst>
            <pc:docMk/>
            <pc:sldMasterMk cId="439156010" sldId="2147483691"/>
            <pc:sldLayoutMk cId="4216072132" sldId="2147483692"/>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1124665029" sldId="2147483693"/>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4182637720" sldId="2147483694"/>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4104334983" sldId="2147483695"/>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4266202905" sldId="2147483696"/>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2390273724" sldId="2147483697"/>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3349535698" sldId="2147483698"/>
          </pc:sldLayoutMkLst>
        </pc:sldLayoutChg>
        <pc:sldLayoutChg chg="del">
          <pc:chgData name="MARTIN Cyriel" userId="0b56f242-993b-4481-93f3-1404cce53605" providerId="ADAL" clId="{33E5CD30-4556-43DE-8746-9DE98AA1DD44}" dt="2023-04-19T08:11:05.126" v="249" actId="47"/>
          <pc:sldLayoutMkLst>
            <pc:docMk/>
            <pc:sldMasterMk cId="439156010" sldId="2147483691"/>
            <pc:sldLayoutMk cId="3081938222" sldId="2147483699"/>
          </pc:sldLayoutMkLst>
        </pc:sldLayoutChg>
      </pc:sldMasterChg>
      <pc:sldMasterChg chg="del delSldLayout">
        <pc:chgData name="MARTIN Cyriel" userId="0b56f242-993b-4481-93f3-1404cce53605" providerId="ADAL" clId="{33E5CD30-4556-43DE-8746-9DE98AA1DD44}" dt="2023-04-19T08:11:09.908" v="261" actId="47"/>
        <pc:sldMasterMkLst>
          <pc:docMk/>
          <pc:sldMasterMk cId="2707347129" sldId="2147483700"/>
        </pc:sldMasterMkLst>
        <pc:sldLayoutChg chg="del">
          <pc:chgData name="MARTIN Cyriel" userId="0b56f242-993b-4481-93f3-1404cce53605" providerId="ADAL" clId="{33E5CD30-4556-43DE-8746-9DE98AA1DD44}" dt="2023-04-19T08:11:09.908" v="261" actId="47"/>
          <pc:sldLayoutMkLst>
            <pc:docMk/>
            <pc:sldMasterMk cId="2707347129" sldId="2147483700"/>
            <pc:sldLayoutMk cId="4147010146" sldId="2147483701"/>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2734922332" sldId="2147483702"/>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2210327453" sldId="2147483703"/>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1562215046" sldId="2147483704"/>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2266464159" sldId="2147483705"/>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1781929178" sldId="2147483706"/>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328570040" sldId="2147483707"/>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2586947161" sldId="2147483708"/>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1240442834" sldId="2147483709"/>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1654874046" sldId="2147483710"/>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1426101965" sldId="2147483711"/>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3841006648" sldId="2147483712"/>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3426109684" sldId="2147483713"/>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3521545838" sldId="2147483714"/>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1180296064" sldId="2147483715"/>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490170034" sldId="2147483716"/>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965195954" sldId="2147483717"/>
          </pc:sldLayoutMkLst>
        </pc:sldLayoutChg>
        <pc:sldLayoutChg chg="del">
          <pc:chgData name="MARTIN Cyriel" userId="0b56f242-993b-4481-93f3-1404cce53605" providerId="ADAL" clId="{33E5CD30-4556-43DE-8746-9DE98AA1DD44}" dt="2023-04-19T08:11:09.908" v="261" actId="47"/>
          <pc:sldLayoutMkLst>
            <pc:docMk/>
            <pc:sldMasterMk cId="2707347129" sldId="2147483700"/>
            <pc:sldLayoutMk cId="365343631" sldId="2147483718"/>
          </pc:sldLayoutMkLst>
        </pc:sldLayoutChg>
      </pc:sldMasterChg>
    </pc:docChg>
  </pc:docChgLst>
  <pc:docChgLst>
    <pc:chgData name="NAMAVAR Nathalie" userId="S::nathalie.namavar@era.europa.eu::e3452f4a-8590-48ce-ba01-777d96de354c" providerId="AD" clId="Web-{5D07D6C0-D4F6-53B2-E4F8-74E622E9D68E}"/>
    <pc:docChg chg="modSld">
      <pc:chgData name="NAMAVAR Nathalie" userId="S::nathalie.namavar@era.europa.eu::e3452f4a-8590-48ce-ba01-777d96de354c" providerId="AD" clId="Web-{5D07D6C0-D4F6-53B2-E4F8-74E622E9D68E}" dt="2023-04-20T15:36:47.074" v="1" actId="20577"/>
      <pc:docMkLst>
        <pc:docMk/>
      </pc:docMkLst>
      <pc:sldChg chg="modSp">
        <pc:chgData name="NAMAVAR Nathalie" userId="S::nathalie.namavar@era.europa.eu::e3452f4a-8590-48ce-ba01-777d96de354c" providerId="AD" clId="Web-{5D07D6C0-D4F6-53B2-E4F8-74E622E9D68E}" dt="2023-04-20T15:36:47.074" v="1" actId="20577"/>
        <pc:sldMkLst>
          <pc:docMk/>
          <pc:sldMk cId="1928388399" sldId="6733"/>
        </pc:sldMkLst>
        <pc:graphicFrameChg chg="modGraphic">
          <ac:chgData name="NAMAVAR Nathalie" userId="S::nathalie.namavar@era.europa.eu::e3452f4a-8590-48ce-ba01-777d96de354c" providerId="AD" clId="Web-{5D07D6C0-D4F6-53B2-E4F8-74E622E9D68E}" dt="2023-04-20T15:36:47.074" v="1" actId="20577"/>
          <ac:graphicFrameMkLst>
            <pc:docMk/>
            <pc:sldMk cId="1928388399" sldId="6733"/>
            <ac:graphicFrameMk id="3" creationId="{8A7FB9C4-96FD-CFA7-D51C-3D4375FE7CD4}"/>
          </ac:graphicFrameMkLst>
        </pc:graphicFrameChg>
      </pc:sldChg>
    </pc:docChg>
  </pc:docChgLst>
  <pc:docChgLst>
    <pc:chgData name="GHERGHINESCU Oana" userId="S::oana.gherghinescu@era.europa.eu::2aefc5d1-8385-4082-b344-ef2af05287e8" providerId="AD" clId="Web-{473639A3-E04B-C4EB-2D78-14BF11CA80FF}"/>
    <pc:docChg chg="delSld modSld">
      <pc:chgData name="GHERGHINESCU Oana" userId="S::oana.gherghinescu@era.europa.eu::2aefc5d1-8385-4082-b344-ef2af05287e8" providerId="AD" clId="Web-{473639A3-E04B-C4EB-2D78-14BF11CA80FF}" dt="2023-04-21T05:38:18.868" v="440"/>
      <pc:docMkLst>
        <pc:docMk/>
      </pc:docMkLst>
      <pc:sldChg chg="modSp">
        <pc:chgData name="GHERGHINESCU Oana" userId="S::oana.gherghinescu@era.europa.eu::2aefc5d1-8385-4082-b344-ef2af05287e8" providerId="AD" clId="Web-{473639A3-E04B-C4EB-2D78-14BF11CA80FF}" dt="2023-04-21T05:38:03.820" v="439" actId="20577"/>
        <pc:sldMkLst>
          <pc:docMk/>
          <pc:sldMk cId="1775282822" sldId="6721"/>
        </pc:sldMkLst>
        <pc:spChg chg="mod">
          <ac:chgData name="GHERGHINESCU Oana" userId="S::oana.gherghinescu@era.europa.eu::2aefc5d1-8385-4082-b344-ef2af05287e8" providerId="AD" clId="Web-{473639A3-E04B-C4EB-2D78-14BF11CA80FF}" dt="2023-04-21T05:36:19.644" v="328" actId="20577"/>
          <ac:spMkLst>
            <pc:docMk/>
            <pc:sldMk cId="1775282822" sldId="6721"/>
            <ac:spMk id="5" creationId="{B8226CC0-EFFA-878B-53DA-15FF92B7731E}"/>
          </ac:spMkLst>
        </pc:spChg>
        <pc:spChg chg="mod">
          <ac:chgData name="GHERGHINESCU Oana" userId="S::oana.gherghinescu@era.europa.eu::2aefc5d1-8385-4082-b344-ef2af05287e8" providerId="AD" clId="Web-{473639A3-E04B-C4EB-2D78-14BF11CA80FF}" dt="2023-04-21T05:38:03.820" v="439" actId="20577"/>
          <ac:spMkLst>
            <pc:docMk/>
            <pc:sldMk cId="1775282822" sldId="6721"/>
            <ac:spMk id="8" creationId="{E96CAF90-D2A5-38D3-5E8D-017602099031}"/>
          </ac:spMkLst>
        </pc:spChg>
      </pc:sldChg>
      <pc:sldChg chg="modSp">
        <pc:chgData name="GHERGHINESCU Oana" userId="S::oana.gherghinescu@era.europa.eu::2aefc5d1-8385-4082-b344-ef2af05287e8" providerId="AD" clId="Web-{473639A3-E04B-C4EB-2D78-14BF11CA80FF}" dt="2023-04-21T05:35:54.503" v="312" actId="20577"/>
        <pc:sldMkLst>
          <pc:docMk/>
          <pc:sldMk cId="3051000165" sldId="6724"/>
        </pc:sldMkLst>
        <pc:spChg chg="mod">
          <ac:chgData name="GHERGHINESCU Oana" userId="S::oana.gherghinescu@era.europa.eu::2aefc5d1-8385-4082-b344-ef2af05287e8" providerId="AD" clId="Web-{473639A3-E04B-C4EB-2D78-14BF11CA80FF}" dt="2023-04-21T05:35:54.503" v="312" actId="20577"/>
          <ac:spMkLst>
            <pc:docMk/>
            <pc:sldMk cId="3051000165" sldId="6724"/>
            <ac:spMk id="2" creationId="{5AA456AC-0A69-9DFD-552D-03207C8A44AE}"/>
          </ac:spMkLst>
        </pc:spChg>
      </pc:sldChg>
      <pc:sldChg chg="modSp del">
        <pc:chgData name="GHERGHINESCU Oana" userId="S::oana.gherghinescu@era.europa.eu::2aefc5d1-8385-4082-b344-ef2af05287e8" providerId="AD" clId="Web-{473639A3-E04B-C4EB-2D78-14BF11CA80FF}" dt="2023-04-21T05:38:18.868" v="440"/>
        <pc:sldMkLst>
          <pc:docMk/>
          <pc:sldMk cId="1018213087" sldId="6725"/>
        </pc:sldMkLst>
        <pc:spChg chg="mod">
          <ac:chgData name="GHERGHINESCU Oana" userId="S::oana.gherghinescu@era.europa.eu::2aefc5d1-8385-4082-b344-ef2af05287e8" providerId="AD" clId="Web-{473639A3-E04B-C4EB-2D78-14BF11CA80FF}" dt="2023-04-21T05:37:30.147" v="394" actId="20577"/>
          <ac:spMkLst>
            <pc:docMk/>
            <pc:sldMk cId="1018213087" sldId="6725"/>
            <ac:spMk id="8" creationId="{E96CAF90-D2A5-38D3-5E8D-017602099031}"/>
          </ac:spMkLst>
        </pc:spChg>
      </pc:sldChg>
    </pc:docChg>
  </pc:docChgLst>
  <pc:docChgLst>
    <pc:chgData name="Oana GHERGHINESCU" userId="2aefc5d1-8385-4082-b344-ef2af05287e8" providerId="ADAL" clId="{C045F3C8-D675-4ACE-8428-D27B7395567D}"/>
    <pc:docChg chg="undo custSel addSld delSld modSld">
      <pc:chgData name="Oana GHERGHINESCU" userId="2aefc5d1-8385-4082-b344-ef2af05287e8" providerId="ADAL" clId="{C045F3C8-D675-4ACE-8428-D27B7395567D}" dt="2023-04-21T06:00:53.734" v="928" actId="20577"/>
      <pc:docMkLst>
        <pc:docMk/>
      </pc:docMkLst>
      <pc:sldChg chg="modSp mod">
        <pc:chgData name="Oana GHERGHINESCU" userId="2aefc5d1-8385-4082-b344-ef2af05287e8" providerId="ADAL" clId="{C045F3C8-D675-4ACE-8428-D27B7395567D}" dt="2023-04-21T05:57:53.333" v="837" actId="113"/>
        <pc:sldMkLst>
          <pc:docMk/>
          <pc:sldMk cId="1775282822" sldId="6721"/>
        </pc:sldMkLst>
        <pc:spChg chg="mod">
          <ac:chgData name="Oana GHERGHINESCU" userId="2aefc5d1-8385-4082-b344-ef2af05287e8" providerId="ADAL" clId="{C045F3C8-D675-4ACE-8428-D27B7395567D}" dt="2023-04-21T05:57:53.333" v="837" actId="113"/>
          <ac:spMkLst>
            <pc:docMk/>
            <pc:sldMk cId="1775282822" sldId="6721"/>
            <ac:spMk id="8" creationId="{E96CAF90-D2A5-38D3-5E8D-017602099031}"/>
          </ac:spMkLst>
        </pc:spChg>
      </pc:sldChg>
      <pc:sldChg chg="delSp modSp del mod">
        <pc:chgData name="Oana GHERGHINESCU" userId="2aefc5d1-8385-4082-b344-ef2af05287e8" providerId="ADAL" clId="{C045F3C8-D675-4ACE-8428-D27B7395567D}" dt="2023-04-21T05:47:55.391" v="216" actId="47"/>
        <pc:sldMkLst>
          <pc:docMk/>
          <pc:sldMk cId="3051000165" sldId="6724"/>
        </pc:sldMkLst>
        <pc:spChg chg="del mod">
          <ac:chgData name="Oana GHERGHINESCU" userId="2aefc5d1-8385-4082-b344-ef2af05287e8" providerId="ADAL" clId="{C045F3C8-D675-4ACE-8428-D27B7395567D}" dt="2023-04-21T05:40:58.519" v="31"/>
          <ac:spMkLst>
            <pc:docMk/>
            <pc:sldMk cId="3051000165" sldId="6724"/>
            <ac:spMk id="8" creationId="{E96CAF90-D2A5-38D3-5E8D-017602099031}"/>
          </ac:spMkLst>
        </pc:spChg>
      </pc:sldChg>
      <pc:sldChg chg="modSp del mod">
        <pc:chgData name="Oana GHERGHINESCU" userId="2aefc5d1-8385-4082-b344-ef2af05287e8" providerId="ADAL" clId="{C045F3C8-D675-4ACE-8428-D27B7395567D}" dt="2023-04-21T05:56:24.539" v="664" actId="47"/>
        <pc:sldMkLst>
          <pc:docMk/>
          <pc:sldMk cId="3149286642" sldId="6727"/>
        </pc:sldMkLst>
        <pc:spChg chg="mod">
          <ac:chgData name="Oana GHERGHINESCU" userId="2aefc5d1-8385-4082-b344-ef2af05287e8" providerId="ADAL" clId="{C045F3C8-D675-4ACE-8428-D27B7395567D}" dt="2023-04-21T05:51:09.789" v="333" actId="21"/>
          <ac:spMkLst>
            <pc:docMk/>
            <pc:sldMk cId="3149286642" sldId="6727"/>
            <ac:spMk id="8" creationId="{E96CAF90-D2A5-38D3-5E8D-017602099031}"/>
          </ac:spMkLst>
        </pc:spChg>
      </pc:sldChg>
      <pc:sldChg chg="modSp del mod">
        <pc:chgData name="Oana GHERGHINESCU" userId="2aefc5d1-8385-4082-b344-ef2af05287e8" providerId="ADAL" clId="{C045F3C8-D675-4ACE-8428-D27B7395567D}" dt="2023-04-21T05:48:49.543" v="242" actId="47"/>
        <pc:sldMkLst>
          <pc:docMk/>
          <pc:sldMk cId="3393428378" sldId="6728"/>
        </pc:sldMkLst>
        <pc:spChg chg="mod">
          <ac:chgData name="Oana GHERGHINESCU" userId="2aefc5d1-8385-4082-b344-ef2af05287e8" providerId="ADAL" clId="{C045F3C8-D675-4ACE-8428-D27B7395567D}" dt="2023-04-21T05:48:47.033" v="241" actId="21"/>
          <ac:spMkLst>
            <pc:docMk/>
            <pc:sldMk cId="3393428378" sldId="6728"/>
            <ac:spMk id="8" creationId="{E96CAF90-D2A5-38D3-5E8D-017602099031}"/>
          </ac:spMkLst>
        </pc:spChg>
      </pc:sldChg>
      <pc:sldChg chg="modSp add del mod">
        <pc:chgData name="Oana GHERGHINESCU" userId="2aefc5d1-8385-4082-b344-ef2af05287e8" providerId="ADAL" clId="{C045F3C8-D675-4ACE-8428-D27B7395567D}" dt="2023-04-21T05:47:53.890" v="215" actId="47"/>
        <pc:sldMkLst>
          <pc:docMk/>
          <pc:sldMk cId="3512046450" sldId="6749"/>
        </pc:sldMkLst>
        <pc:spChg chg="mod">
          <ac:chgData name="Oana GHERGHINESCU" userId="2aefc5d1-8385-4082-b344-ef2af05287e8" providerId="ADAL" clId="{C045F3C8-D675-4ACE-8428-D27B7395567D}" dt="2023-04-21T05:46:13.773" v="181" actId="21"/>
          <ac:spMkLst>
            <pc:docMk/>
            <pc:sldMk cId="3512046450" sldId="6749"/>
            <ac:spMk id="8" creationId="{E96CAF90-D2A5-38D3-5E8D-017602099031}"/>
          </ac:spMkLst>
        </pc:spChg>
      </pc:sldChg>
      <pc:sldChg chg="modSp add del mod">
        <pc:chgData name="Oana GHERGHINESCU" userId="2aefc5d1-8385-4082-b344-ef2af05287e8" providerId="ADAL" clId="{C045F3C8-D675-4ACE-8428-D27B7395567D}" dt="2023-04-21T05:50:22.018" v="309" actId="47"/>
        <pc:sldMkLst>
          <pc:docMk/>
          <pc:sldMk cId="867078054" sldId="6750"/>
        </pc:sldMkLst>
        <pc:spChg chg="mod">
          <ac:chgData name="Oana GHERGHINESCU" userId="2aefc5d1-8385-4082-b344-ef2af05287e8" providerId="ADAL" clId="{C045F3C8-D675-4ACE-8428-D27B7395567D}" dt="2023-04-21T05:47:34.212" v="214" actId="20577"/>
          <ac:spMkLst>
            <pc:docMk/>
            <pc:sldMk cId="867078054" sldId="6750"/>
            <ac:spMk id="8" creationId="{E96CAF90-D2A5-38D3-5E8D-017602099031}"/>
          </ac:spMkLst>
        </pc:spChg>
      </pc:sldChg>
      <pc:sldChg chg="modSp add mod">
        <pc:chgData name="Oana GHERGHINESCU" userId="2aefc5d1-8385-4082-b344-ef2af05287e8" providerId="ADAL" clId="{C045F3C8-D675-4ACE-8428-D27B7395567D}" dt="2023-04-21T05:59:16.958" v="911" actId="20577"/>
        <pc:sldMkLst>
          <pc:docMk/>
          <pc:sldMk cId="1570844998" sldId="6751"/>
        </pc:sldMkLst>
        <pc:spChg chg="mod">
          <ac:chgData name="Oana GHERGHINESCU" userId="2aefc5d1-8385-4082-b344-ef2af05287e8" providerId="ADAL" clId="{C045F3C8-D675-4ACE-8428-D27B7395567D}" dt="2023-04-21T05:59:16.958" v="911" actId="20577"/>
          <ac:spMkLst>
            <pc:docMk/>
            <pc:sldMk cId="1570844998" sldId="6751"/>
            <ac:spMk id="8" creationId="{E96CAF90-D2A5-38D3-5E8D-017602099031}"/>
          </ac:spMkLst>
        </pc:spChg>
      </pc:sldChg>
      <pc:sldChg chg="modSp add mod">
        <pc:chgData name="Oana GHERGHINESCU" userId="2aefc5d1-8385-4082-b344-ef2af05287e8" providerId="ADAL" clId="{C045F3C8-D675-4ACE-8428-D27B7395567D}" dt="2023-04-21T06:00:53.734" v="928" actId="20577"/>
        <pc:sldMkLst>
          <pc:docMk/>
          <pc:sldMk cId="2520020153" sldId="6752"/>
        </pc:sldMkLst>
        <pc:spChg chg="mod">
          <ac:chgData name="Oana GHERGHINESCU" userId="2aefc5d1-8385-4082-b344-ef2af05287e8" providerId="ADAL" clId="{C045F3C8-D675-4ACE-8428-D27B7395567D}" dt="2023-04-21T06:00:53.734" v="928" actId="20577"/>
          <ac:spMkLst>
            <pc:docMk/>
            <pc:sldMk cId="2520020153" sldId="6752"/>
            <ac:spMk id="8" creationId="{E96CAF90-D2A5-38D3-5E8D-017602099031}"/>
          </ac:spMkLst>
        </pc:spChg>
      </pc:sldChg>
    </pc:docChg>
  </pc:docChgLst>
  <pc:docChgLst>
    <pc:chgData name="NAMAVAR Nathalie" userId="S::nathalie.namavar@era.europa.eu::e3452f4a-8590-48ce-ba01-777d96de354c" providerId="AD" clId="Web-{FA4EEEA6-CFC6-FD5F-DCF9-B19750E510AD}"/>
    <pc:docChg chg="delSld">
      <pc:chgData name="NAMAVAR Nathalie" userId="S::nathalie.namavar@era.europa.eu::e3452f4a-8590-48ce-ba01-777d96de354c" providerId="AD" clId="Web-{FA4EEEA6-CFC6-FD5F-DCF9-B19750E510AD}" dt="2023-04-20T15:35:18.649" v="0"/>
      <pc:docMkLst>
        <pc:docMk/>
      </pc:docMkLst>
      <pc:sldChg chg="del">
        <pc:chgData name="NAMAVAR Nathalie" userId="S::nathalie.namavar@era.europa.eu::e3452f4a-8590-48ce-ba01-777d96de354c" providerId="AD" clId="Web-{FA4EEEA6-CFC6-FD5F-DCF9-B19750E510AD}" dt="2023-04-20T15:35:18.649" v="0"/>
        <pc:sldMkLst>
          <pc:docMk/>
          <pc:sldMk cId="4204003715" sldId="6747"/>
        </pc:sldMkLst>
      </pc:sldChg>
    </pc:docChg>
  </pc:docChgLst>
  <pc:docChgLst>
    <pc:chgData name="NAMAVAR Nathalie" userId="e3452f4a-8590-48ce-ba01-777d96de354c" providerId="ADAL" clId="{DCFFB173-BFE1-4D2F-9ED5-D8A5839B5238}"/>
    <pc:docChg chg="delSld modSld">
      <pc:chgData name="NAMAVAR Nathalie" userId="e3452f4a-8590-48ce-ba01-777d96de354c" providerId="ADAL" clId="{DCFFB173-BFE1-4D2F-9ED5-D8A5839B5238}" dt="2023-04-21T09:08:14.512" v="42" actId="2696"/>
      <pc:docMkLst>
        <pc:docMk/>
      </pc:docMkLst>
      <pc:sldChg chg="del">
        <pc:chgData name="NAMAVAR Nathalie" userId="e3452f4a-8590-48ce-ba01-777d96de354c" providerId="ADAL" clId="{DCFFB173-BFE1-4D2F-9ED5-D8A5839B5238}" dt="2023-04-21T09:08:14.512" v="42" actId="2696"/>
        <pc:sldMkLst>
          <pc:docMk/>
          <pc:sldMk cId="3355531814" sldId="267"/>
        </pc:sldMkLst>
      </pc:sldChg>
      <pc:sldChg chg="modSp">
        <pc:chgData name="NAMAVAR Nathalie" userId="e3452f4a-8590-48ce-ba01-777d96de354c" providerId="ADAL" clId="{DCFFB173-BFE1-4D2F-9ED5-D8A5839B5238}" dt="2023-04-21T07:24:34.538" v="38" actId="20577"/>
        <pc:sldMkLst>
          <pc:docMk/>
          <pc:sldMk cId="1928388399" sldId="6733"/>
        </pc:sldMkLst>
        <pc:graphicFrameChg chg="mod">
          <ac:chgData name="NAMAVAR Nathalie" userId="e3452f4a-8590-48ce-ba01-777d96de354c" providerId="ADAL" clId="{DCFFB173-BFE1-4D2F-9ED5-D8A5839B5238}" dt="2023-04-21T07:24:34.538" v="38" actId="20577"/>
          <ac:graphicFrameMkLst>
            <pc:docMk/>
            <pc:sldMk cId="1928388399" sldId="6733"/>
            <ac:graphicFrameMk id="3" creationId="{8A7FB9C4-96FD-CFA7-D51C-3D4375FE7CD4}"/>
          </ac:graphicFrameMkLst>
        </pc:graphicFrameChg>
      </pc:sldChg>
      <pc:sldChg chg="addSp modSp mod">
        <pc:chgData name="NAMAVAR Nathalie" userId="e3452f4a-8590-48ce-ba01-777d96de354c" providerId="ADAL" clId="{DCFFB173-BFE1-4D2F-9ED5-D8A5839B5238}" dt="2023-04-21T06:31:27.392" v="28" actId="2711"/>
        <pc:sldMkLst>
          <pc:docMk/>
          <pc:sldMk cId="3417549196" sldId="6744"/>
        </pc:sldMkLst>
        <pc:graphicFrameChg chg="mod">
          <ac:chgData name="NAMAVAR Nathalie" userId="e3452f4a-8590-48ce-ba01-777d96de354c" providerId="ADAL" clId="{DCFFB173-BFE1-4D2F-9ED5-D8A5839B5238}" dt="2023-04-21T06:31:27.392" v="28" actId="2711"/>
          <ac:graphicFrameMkLst>
            <pc:docMk/>
            <pc:sldMk cId="3417549196" sldId="6744"/>
            <ac:graphicFrameMk id="18" creationId="{96D27582-DEA3-8BAF-0262-045C27322EF1}"/>
          </ac:graphicFrameMkLst>
        </pc:graphicFrameChg>
        <pc:picChg chg="add mod">
          <ac:chgData name="NAMAVAR Nathalie" userId="e3452f4a-8590-48ce-ba01-777d96de354c" providerId="ADAL" clId="{DCFFB173-BFE1-4D2F-9ED5-D8A5839B5238}" dt="2023-04-21T06:03:23.591" v="16" actId="1076"/>
          <ac:picMkLst>
            <pc:docMk/>
            <pc:sldMk cId="3417549196" sldId="6744"/>
            <ac:picMk id="3" creationId="{98A4F0BB-A038-4FCB-22C7-293DC4C294FF}"/>
          </ac:picMkLst>
        </pc:picChg>
      </pc:sldChg>
      <pc:sldChg chg="modSp mod">
        <pc:chgData name="NAMAVAR Nathalie" userId="e3452f4a-8590-48ce-ba01-777d96de354c" providerId="ADAL" clId="{DCFFB173-BFE1-4D2F-9ED5-D8A5839B5238}" dt="2023-04-21T06:03:58.074" v="19" actId="113"/>
        <pc:sldMkLst>
          <pc:docMk/>
          <pc:sldMk cId="1002995334" sldId="6745"/>
        </pc:sldMkLst>
        <pc:spChg chg="mod">
          <ac:chgData name="NAMAVAR Nathalie" userId="e3452f4a-8590-48ce-ba01-777d96de354c" providerId="ADAL" clId="{DCFFB173-BFE1-4D2F-9ED5-D8A5839B5238}" dt="2023-04-21T06:03:58.074" v="19" actId="113"/>
          <ac:spMkLst>
            <pc:docMk/>
            <pc:sldMk cId="1002995334" sldId="6745"/>
            <ac:spMk id="17" creationId="{6E0D7112-4851-DBB1-410A-D4810608F4DC}"/>
          </ac:spMkLst>
        </pc:spChg>
      </pc:sldChg>
      <pc:sldChg chg="modSp mod">
        <pc:chgData name="NAMAVAR Nathalie" userId="e3452f4a-8590-48ce-ba01-777d96de354c" providerId="ADAL" clId="{DCFFB173-BFE1-4D2F-9ED5-D8A5839B5238}" dt="2023-04-21T07:45:22.837" v="41" actId="20577"/>
        <pc:sldMkLst>
          <pc:docMk/>
          <pc:sldMk cId="2119553505" sldId="6746"/>
        </pc:sldMkLst>
        <pc:spChg chg="mod">
          <ac:chgData name="NAMAVAR Nathalie" userId="e3452f4a-8590-48ce-ba01-777d96de354c" providerId="ADAL" clId="{DCFFB173-BFE1-4D2F-9ED5-D8A5839B5238}" dt="2023-04-21T07:45:22.837" v="41" actId="20577"/>
          <ac:spMkLst>
            <pc:docMk/>
            <pc:sldMk cId="2119553505" sldId="6746"/>
            <ac:spMk id="17" creationId="{6E0D7112-4851-DBB1-410A-D4810608F4DC}"/>
          </ac:spMkLst>
        </pc:spChg>
      </pc:sldChg>
    </pc:docChg>
  </pc:docChgLst>
  <pc:docChgLst>
    <pc:chgData name="MARTIN Cyriel" userId="S::cyriel.martin@era.europa.eu::0b56f242-993b-4481-93f3-1404cce53605" providerId="AD" clId="Web-{038D72D9-84A0-A589-B24F-6561B5B83EB9}"/>
    <pc:docChg chg="addSld delSld modSld addMainMaster">
      <pc:chgData name="MARTIN Cyriel" userId="S::cyriel.martin@era.europa.eu::0b56f242-993b-4481-93f3-1404cce53605" providerId="AD" clId="Web-{038D72D9-84A0-A589-B24F-6561B5B83EB9}" dt="2023-04-21T09:13:27.978" v="139" actId="1076"/>
      <pc:docMkLst>
        <pc:docMk/>
      </pc:docMkLst>
      <pc:sldChg chg="addSp delSp modSp">
        <pc:chgData name="MARTIN Cyriel" userId="S::cyriel.martin@era.europa.eu::0b56f242-993b-4481-93f3-1404cce53605" providerId="AD" clId="Web-{038D72D9-84A0-A589-B24F-6561B5B83EB9}" dt="2023-04-21T08:15:02.812" v="74" actId="1076"/>
        <pc:sldMkLst>
          <pc:docMk/>
          <pc:sldMk cId="1170312264" sldId="6719"/>
        </pc:sldMkLst>
        <pc:spChg chg="mod">
          <ac:chgData name="MARTIN Cyriel" userId="S::cyriel.martin@era.europa.eu::0b56f242-993b-4481-93f3-1404cce53605" providerId="AD" clId="Web-{038D72D9-84A0-A589-B24F-6561B5B83EB9}" dt="2023-04-21T08:14:45.515" v="70" actId="1076"/>
          <ac:spMkLst>
            <pc:docMk/>
            <pc:sldMk cId="1170312264" sldId="6719"/>
            <ac:spMk id="2" creationId="{D2F0B72F-1C9F-AC1F-3524-DC84926030C8}"/>
          </ac:spMkLst>
        </pc:spChg>
        <pc:spChg chg="mod">
          <ac:chgData name="MARTIN Cyriel" userId="S::cyriel.martin@era.europa.eu::0b56f242-993b-4481-93f3-1404cce53605" providerId="AD" clId="Web-{038D72D9-84A0-A589-B24F-6561B5B83EB9}" dt="2023-04-21T08:14:56.218" v="72" actId="1076"/>
          <ac:spMkLst>
            <pc:docMk/>
            <pc:sldMk cId="1170312264" sldId="6719"/>
            <ac:spMk id="3" creationId="{15BB2FE8-9847-4BB4-7F07-A50CF75BA000}"/>
          </ac:spMkLst>
        </pc:spChg>
        <pc:picChg chg="add del mod">
          <ac:chgData name="MARTIN Cyriel" userId="S::cyriel.martin@era.europa.eu::0b56f242-993b-4481-93f3-1404cce53605" providerId="AD" clId="Web-{038D72D9-84A0-A589-B24F-6561B5B83EB9}" dt="2023-04-21T08:08:55.319" v="42"/>
          <ac:picMkLst>
            <pc:docMk/>
            <pc:sldMk cId="1170312264" sldId="6719"/>
            <ac:picMk id="4" creationId="{D4CFC28B-5403-0D59-3D9A-339BE765B325}"/>
          </ac:picMkLst>
        </pc:picChg>
        <pc:picChg chg="add mod">
          <ac:chgData name="MARTIN Cyriel" userId="S::cyriel.martin@era.europa.eu::0b56f242-993b-4481-93f3-1404cce53605" providerId="AD" clId="Web-{038D72D9-84A0-A589-B24F-6561B5B83EB9}" dt="2023-04-21T08:15:02.812" v="74" actId="1076"/>
          <ac:picMkLst>
            <pc:docMk/>
            <pc:sldMk cId="1170312264" sldId="6719"/>
            <ac:picMk id="5" creationId="{D49D00A0-459F-9F50-7CDB-23AE3EADA00D}"/>
          </ac:picMkLst>
        </pc:picChg>
      </pc:sldChg>
      <pc:sldChg chg="addSp modSp">
        <pc:chgData name="MARTIN Cyriel" userId="S::cyriel.martin@era.europa.eu::0b56f242-993b-4481-93f3-1404cce53605" providerId="AD" clId="Web-{038D72D9-84A0-A589-B24F-6561B5B83EB9}" dt="2023-04-21T08:15:44.063" v="81" actId="1076"/>
        <pc:sldMkLst>
          <pc:docMk/>
          <pc:sldMk cId="4049336235" sldId="6720"/>
        </pc:sldMkLst>
        <pc:spChg chg="mod">
          <ac:chgData name="MARTIN Cyriel" userId="S::cyriel.martin@era.europa.eu::0b56f242-993b-4481-93f3-1404cce53605" providerId="AD" clId="Web-{038D72D9-84A0-A589-B24F-6561B5B83EB9}" dt="2023-04-21T08:12:03.980" v="54" actId="14100"/>
          <ac:spMkLst>
            <pc:docMk/>
            <pc:sldMk cId="4049336235" sldId="6720"/>
            <ac:spMk id="2" creationId="{D2F0B72F-1C9F-AC1F-3524-DC84926030C8}"/>
          </ac:spMkLst>
        </pc:spChg>
        <pc:spChg chg="mod">
          <ac:chgData name="MARTIN Cyriel" userId="S::cyriel.martin@era.europa.eu::0b56f242-993b-4481-93f3-1404cce53605" providerId="AD" clId="Web-{038D72D9-84A0-A589-B24F-6561B5B83EB9}" dt="2023-04-21T08:15:33.766" v="78" actId="1076"/>
          <ac:spMkLst>
            <pc:docMk/>
            <pc:sldMk cId="4049336235" sldId="6720"/>
            <ac:spMk id="3" creationId="{15BB2FE8-9847-4BB4-7F07-A50CF75BA000}"/>
          </ac:spMkLst>
        </pc:spChg>
        <pc:spChg chg="mod">
          <ac:chgData name="MARTIN Cyriel" userId="S::cyriel.martin@era.europa.eu::0b56f242-993b-4481-93f3-1404cce53605" providerId="AD" clId="Web-{038D72D9-84A0-A589-B24F-6561B5B83EB9}" dt="2023-04-21T08:15:24.641" v="77" actId="1076"/>
          <ac:spMkLst>
            <pc:docMk/>
            <pc:sldMk cId="4049336235" sldId="6720"/>
            <ac:spMk id="4" creationId="{F251208A-7A45-3096-4CC1-3C466C40C558}"/>
          </ac:spMkLst>
        </pc:spChg>
        <pc:picChg chg="add mod">
          <ac:chgData name="MARTIN Cyriel" userId="S::cyriel.martin@era.europa.eu::0b56f242-993b-4481-93f3-1404cce53605" providerId="AD" clId="Web-{038D72D9-84A0-A589-B24F-6561B5B83EB9}" dt="2023-04-21T08:15:44.063" v="81" actId="1076"/>
          <ac:picMkLst>
            <pc:docMk/>
            <pc:sldMk cId="4049336235" sldId="6720"/>
            <ac:picMk id="6" creationId="{CA6D3035-450F-A339-BDF3-213420CA8AD2}"/>
          </ac:picMkLst>
        </pc:picChg>
      </pc:sldChg>
      <pc:sldChg chg="addSp delSp modSp">
        <pc:chgData name="MARTIN Cyriel" userId="S::cyriel.martin@era.europa.eu::0b56f242-993b-4481-93f3-1404cce53605" providerId="AD" clId="Web-{038D72D9-84A0-A589-B24F-6561B5B83EB9}" dt="2023-04-21T08:16:06.501" v="84" actId="1076"/>
        <pc:sldMkLst>
          <pc:docMk/>
          <pc:sldMk cId="3158965629" sldId="6731"/>
        </pc:sldMkLst>
        <pc:picChg chg="add del mod">
          <ac:chgData name="MARTIN Cyriel" userId="S::cyriel.martin@era.europa.eu::0b56f242-993b-4481-93f3-1404cce53605" providerId="AD" clId="Web-{038D72D9-84A0-A589-B24F-6561B5B83EB9}" dt="2023-04-21T07:56:18.099" v="31"/>
          <ac:picMkLst>
            <pc:docMk/>
            <pc:sldMk cId="3158965629" sldId="6731"/>
            <ac:picMk id="4" creationId="{7F5C45AA-585F-BE07-FBD0-395DB87A9CDF}"/>
          </ac:picMkLst>
        </pc:picChg>
        <pc:picChg chg="add del mod">
          <ac:chgData name="MARTIN Cyriel" userId="S::cyriel.martin@era.europa.eu::0b56f242-993b-4481-93f3-1404cce53605" providerId="AD" clId="Web-{038D72D9-84A0-A589-B24F-6561B5B83EB9}" dt="2023-04-21T08:02:08.825" v="34"/>
          <ac:picMkLst>
            <pc:docMk/>
            <pc:sldMk cId="3158965629" sldId="6731"/>
            <ac:picMk id="5" creationId="{02963A07-475A-5D32-E974-A349DED9B6C2}"/>
          </ac:picMkLst>
        </pc:picChg>
        <pc:picChg chg="add del mod">
          <ac:chgData name="MARTIN Cyriel" userId="S::cyriel.martin@era.europa.eu::0b56f242-993b-4481-93f3-1404cce53605" providerId="AD" clId="Web-{038D72D9-84A0-A589-B24F-6561B5B83EB9}" dt="2023-04-21T08:02:53.748" v="36"/>
          <ac:picMkLst>
            <pc:docMk/>
            <pc:sldMk cId="3158965629" sldId="6731"/>
            <ac:picMk id="6" creationId="{B431D452-557C-03B7-FFBA-0B558BBFFFBA}"/>
          </ac:picMkLst>
        </pc:picChg>
        <pc:picChg chg="add del mod">
          <ac:chgData name="MARTIN Cyriel" userId="S::cyriel.martin@era.europa.eu::0b56f242-993b-4481-93f3-1404cce53605" providerId="AD" clId="Web-{038D72D9-84A0-A589-B24F-6561B5B83EB9}" dt="2023-04-21T08:16:00.298" v="83"/>
          <ac:picMkLst>
            <pc:docMk/>
            <pc:sldMk cId="3158965629" sldId="6731"/>
            <ac:picMk id="7" creationId="{1B83FE7A-D950-40A0-78B7-9B2607CAE8C7}"/>
          </ac:picMkLst>
        </pc:picChg>
        <pc:picChg chg="add mod">
          <ac:chgData name="MARTIN Cyriel" userId="S::cyriel.martin@era.europa.eu::0b56f242-993b-4481-93f3-1404cce53605" providerId="AD" clId="Web-{038D72D9-84A0-A589-B24F-6561B5B83EB9}" dt="2023-04-21T08:16:06.501" v="84" actId="1076"/>
          <ac:picMkLst>
            <pc:docMk/>
            <pc:sldMk cId="3158965629" sldId="6731"/>
            <ac:picMk id="10" creationId="{F35D00F3-9730-5640-9168-4E3B1991DA60}"/>
          </ac:picMkLst>
        </pc:picChg>
      </pc:sldChg>
      <pc:sldChg chg="addSp modSp">
        <pc:chgData name="MARTIN Cyriel" userId="S::cyriel.martin@era.europa.eu::0b56f242-993b-4481-93f3-1404cce53605" providerId="AD" clId="Web-{038D72D9-84A0-A589-B24F-6561B5B83EB9}" dt="2023-04-21T08:15:15.219" v="76" actId="1076"/>
        <pc:sldMkLst>
          <pc:docMk/>
          <pc:sldMk cId="2743292220" sldId="6732"/>
        </pc:sldMkLst>
        <pc:spChg chg="mod">
          <ac:chgData name="MARTIN Cyriel" userId="S::cyriel.martin@era.europa.eu::0b56f242-993b-4481-93f3-1404cce53605" providerId="AD" clId="Web-{038D72D9-84A0-A589-B24F-6561B5B83EB9}" dt="2023-04-21T08:14:09.826" v="65" actId="1076"/>
          <ac:spMkLst>
            <pc:docMk/>
            <pc:sldMk cId="2743292220" sldId="6732"/>
            <ac:spMk id="2" creationId="{D2F0B72F-1C9F-AC1F-3524-DC84926030C8}"/>
          </ac:spMkLst>
        </pc:spChg>
        <pc:spChg chg="mod">
          <ac:chgData name="MARTIN Cyriel" userId="S::cyriel.martin@era.europa.eu::0b56f242-993b-4481-93f3-1404cce53605" providerId="AD" clId="Web-{038D72D9-84A0-A589-B24F-6561B5B83EB9}" dt="2023-04-21T08:14:05.826" v="64" actId="1076"/>
          <ac:spMkLst>
            <pc:docMk/>
            <pc:sldMk cId="2743292220" sldId="6732"/>
            <ac:spMk id="3" creationId="{15BB2FE8-9847-4BB4-7F07-A50CF75BA000}"/>
          </ac:spMkLst>
        </pc:spChg>
        <pc:picChg chg="add mod">
          <ac:chgData name="MARTIN Cyriel" userId="S::cyriel.martin@era.europa.eu::0b56f242-993b-4481-93f3-1404cce53605" providerId="AD" clId="Web-{038D72D9-84A0-A589-B24F-6561B5B83EB9}" dt="2023-04-21T08:15:15.219" v="76" actId="1076"/>
          <ac:picMkLst>
            <pc:docMk/>
            <pc:sldMk cId="2743292220" sldId="6732"/>
            <ac:picMk id="5" creationId="{E7ECF11B-BF93-5D74-2D82-357B9935ACDF}"/>
          </ac:picMkLst>
        </pc:picChg>
      </pc:sldChg>
      <pc:sldChg chg="addSp modSp">
        <pc:chgData name="MARTIN Cyriel" userId="S::cyriel.martin@era.europa.eu::0b56f242-993b-4481-93f3-1404cce53605" providerId="AD" clId="Web-{038D72D9-84A0-A589-B24F-6561B5B83EB9}" dt="2023-04-21T07:51:39.045" v="28" actId="1076"/>
        <pc:sldMkLst>
          <pc:docMk/>
          <pc:sldMk cId="1928388399" sldId="6733"/>
        </pc:sldMkLst>
        <pc:picChg chg="add mod">
          <ac:chgData name="MARTIN Cyriel" userId="S::cyriel.martin@era.europa.eu::0b56f242-993b-4481-93f3-1404cce53605" providerId="AD" clId="Web-{038D72D9-84A0-A589-B24F-6561B5B83EB9}" dt="2023-04-21T07:51:39.045" v="28" actId="1076"/>
          <ac:picMkLst>
            <pc:docMk/>
            <pc:sldMk cId="1928388399" sldId="6733"/>
            <ac:picMk id="11" creationId="{7C98018E-C7A9-F946-6C0C-C2B19F0430E7}"/>
          </ac:picMkLst>
        </pc:picChg>
      </pc:sldChg>
      <pc:sldChg chg="del">
        <pc:chgData name="MARTIN Cyriel" userId="S::cyriel.martin@era.europa.eu::0b56f242-993b-4481-93f3-1404cce53605" providerId="AD" clId="Web-{038D72D9-84A0-A589-B24F-6561B5B83EB9}" dt="2023-04-21T07:19:24.456" v="6"/>
        <pc:sldMkLst>
          <pc:docMk/>
          <pc:sldMk cId="1728887656" sldId="6734"/>
        </pc:sldMkLst>
      </pc:sldChg>
      <pc:sldChg chg="del">
        <pc:chgData name="MARTIN Cyriel" userId="S::cyriel.martin@era.europa.eu::0b56f242-993b-4481-93f3-1404cce53605" providerId="AD" clId="Web-{038D72D9-84A0-A589-B24F-6561B5B83EB9}" dt="2023-04-21T07:19:19.612" v="0"/>
        <pc:sldMkLst>
          <pc:docMk/>
          <pc:sldMk cId="1023399393" sldId="6735"/>
        </pc:sldMkLst>
      </pc:sldChg>
      <pc:sldChg chg="del">
        <pc:chgData name="MARTIN Cyriel" userId="S::cyriel.martin@era.europa.eu::0b56f242-993b-4481-93f3-1404cce53605" providerId="AD" clId="Web-{038D72D9-84A0-A589-B24F-6561B5B83EB9}" dt="2023-04-21T07:19:19.612" v="1"/>
        <pc:sldMkLst>
          <pc:docMk/>
          <pc:sldMk cId="613946311" sldId="6736"/>
        </pc:sldMkLst>
      </pc:sldChg>
      <pc:sldChg chg="del">
        <pc:chgData name="MARTIN Cyriel" userId="S::cyriel.martin@era.europa.eu::0b56f242-993b-4481-93f3-1404cce53605" providerId="AD" clId="Web-{038D72D9-84A0-A589-B24F-6561B5B83EB9}" dt="2023-04-21T07:19:19.612" v="2"/>
        <pc:sldMkLst>
          <pc:docMk/>
          <pc:sldMk cId="2252377011" sldId="6737"/>
        </pc:sldMkLst>
      </pc:sldChg>
      <pc:sldChg chg="del">
        <pc:chgData name="MARTIN Cyriel" userId="S::cyriel.martin@era.europa.eu::0b56f242-993b-4481-93f3-1404cce53605" providerId="AD" clId="Web-{038D72D9-84A0-A589-B24F-6561B5B83EB9}" dt="2023-04-21T07:19:19.612" v="3"/>
        <pc:sldMkLst>
          <pc:docMk/>
          <pc:sldMk cId="1293800339" sldId="6738"/>
        </pc:sldMkLst>
      </pc:sldChg>
      <pc:sldChg chg="del">
        <pc:chgData name="MARTIN Cyriel" userId="S::cyriel.martin@era.europa.eu::0b56f242-993b-4481-93f3-1404cce53605" providerId="AD" clId="Web-{038D72D9-84A0-A589-B24F-6561B5B83EB9}" dt="2023-04-21T07:19:19.612" v="4"/>
        <pc:sldMkLst>
          <pc:docMk/>
          <pc:sldMk cId="4227312332" sldId="6739"/>
        </pc:sldMkLst>
      </pc:sldChg>
      <pc:sldChg chg="del">
        <pc:chgData name="MARTIN Cyriel" userId="S::cyriel.martin@era.europa.eu::0b56f242-993b-4481-93f3-1404cce53605" providerId="AD" clId="Web-{038D72D9-84A0-A589-B24F-6561B5B83EB9}" dt="2023-04-21T07:19:19.612" v="5"/>
        <pc:sldMkLst>
          <pc:docMk/>
          <pc:sldMk cId="1706523056" sldId="6740"/>
        </pc:sldMkLst>
      </pc:sldChg>
      <pc:sldChg chg="addSp delSp modSp">
        <pc:chgData name="MARTIN Cyriel" userId="S::cyriel.martin@era.europa.eu::0b56f242-993b-4481-93f3-1404cce53605" providerId="AD" clId="Web-{038D72D9-84A0-A589-B24F-6561B5B83EB9}" dt="2023-04-21T07:30:56.117" v="20" actId="1076"/>
        <pc:sldMkLst>
          <pc:docMk/>
          <pc:sldMk cId="3417549196" sldId="6744"/>
        </pc:sldMkLst>
        <pc:picChg chg="del">
          <ac:chgData name="MARTIN Cyriel" userId="S::cyriel.martin@era.europa.eu::0b56f242-993b-4481-93f3-1404cce53605" providerId="AD" clId="Web-{038D72D9-84A0-A589-B24F-6561B5B83EB9}" dt="2023-04-21T07:30:32.413" v="16"/>
          <ac:picMkLst>
            <pc:docMk/>
            <pc:sldMk cId="3417549196" sldId="6744"/>
            <ac:picMk id="3" creationId="{98A4F0BB-A038-4FCB-22C7-293DC4C294FF}"/>
          </ac:picMkLst>
        </pc:picChg>
        <pc:picChg chg="add mod">
          <ac:chgData name="MARTIN Cyriel" userId="S::cyriel.martin@era.europa.eu::0b56f242-993b-4481-93f3-1404cce53605" providerId="AD" clId="Web-{038D72D9-84A0-A589-B24F-6561B5B83EB9}" dt="2023-04-21T07:30:56.117" v="20" actId="1076"/>
          <ac:picMkLst>
            <pc:docMk/>
            <pc:sldMk cId="3417549196" sldId="6744"/>
            <ac:picMk id="26" creationId="{9BFBB67C-3CAC-6603-CFB0-2F0DC70E7463}"/>
          </ac:picMkLst>
        </pc:picChg>
      </pc:sldChg>
      <pc:sldChg chg="addSp modSp">
        <pc:chgData name="MARTIN Cyriel" userId="S::cyriel.martin@era.europa.eu::0b56f242-993b-4481-93f3-1404cce53605" providerId="AD" clId="Web-{038D72D9-84A0-A589-B24F-6561B5B83EB9}" dt="2023-04-21T09:13:27.978" v="139" actId="1076"/>
        <pc:sldMkLst>
          <pc:docMk/>
          <pc:sldMk cId="2119553505" sldId="6746"/>
        </pc:sldMkLst>
        <pc:spChg chg="mod">
          <ac:chgData name="MARTIN Cyriel" userId="S::cyriel.martin@era.europa.eu::0b56f242-993b-4481-93f3-1404cce53605" providerId="AD" clId="Web-{038D72D9-84A0-A589-B24F-6561B5B83EB9}" dt="2023-04-21T09:12:58.228" v="137" actId="1076"/>
          <ac:spMkLst>
            <pc:docMk/>
            <pc:sldMk cId="2119553505" sldId="6746"/>
            <ac:spMk id="17" creationId="{6E0D7112-4851-DBB1-410A-D4810608F4DC}"/>
          </ac:spMkLst>
        </pc:spChg>
        <pc:picChg chg="add mod">
          <ac:chgData name="MARTIN Cyriel" userId="S::cyriel.martin@era.europa.eu::0b56f242-993b-4481-93f3-1404cce53605" providerId="AD" clId="Web-{038D72D9-84A0-A589-B24F-6561B5B83EB9}" dt="2023-04-21T09:13:27.978" v="139" actId="1076"/>
          <ac:picMkLst>
            <pc:docMk/>
            <pc:sldMk cId="2119553505" sldId="6746"/>
            <ac:picMk id="3" creationId="{C809B517-4C0E-CD4C-6159-F3E1D3E0A996}"/>
          </ac:picMkLst>
        </pc:picChg>
      </pc:sldChg>
      <pc:sldChg chg="add">
        <pc:chgData name="MARTIN Cyriel" userId="S::cyriel.martin@era.europa.eu::0b56f242-993b-4481-93f3-1404cce53605" providerId="AD" clId="Web-{038D72D9-84A0-A589-B24F-6561B5B83EB9}" dt="2023-04-21T07:19:32.487" v="7"/>
        <pc:sldMkLst>
          <pc:docMk/>
          <pc:sldMk cId="3694207957" sldId="6753"/>
        </pc:sldMkLst>
      </pc:sldChg>
      <pc:sldChg chg="add">
        <pc:chgData name="MARTIN Cyriel" userId="S::cyriel.martin@era.europa.eu::0b56f242-993b-4481-93f3-1404cce53605" providerId="AD" clId="Web-{038D72D9-84A0-A589-B24F-6561B5B83EB9}" dt="2023-04-21T07:19:32.581" v="8"/>
        <pc:sldMkLst>
          <pc:docMk/>
          <pc:sldMk cId="3841813337" sldId="6754"/>
        </pc:sldMkLst>
      </pc:sldChg>
      <pc:sldChg chg="add">
        <pc:chgData name="MARTIN Cyriel" userId="S::cyriel.martin@era.europa.eu::0b56f242-993b-4481-93f3-1404cce53605" providerId="AD" clId="Web-{038D72D9-84A0-A589-B24F-6561B5B83EB9}" dt="2023-04-21T07:19:32.753" v="9"/>
        <pc:sldMkLst>
          <pc:docMk/>
          <pc:sldMk cId="2484833032" sldId="6755"/>
        </pc:sldMkLst>
      </pc:sldChg>
      <pc:sldChg chg="add">
        <pc:chgData name="MARTIN Cyriel" userId="S::cyriel.martin@era.europa.eu::0b56f242-993b-4481-93f3-1404cce53605" providerId="AD" clId="Web-{038D72D9-84A0-A589-B24F-6561B5B83EB9}" dt="2023-04-21T07:19:32.956" v="10"/>
        <pc:sldMkLst>
          <pc:docMk/>
          <pc:sldMk cId="2374017715" sldId="6756"/>
        </pc:sldMkLst>
      </pc:sldChg>
      <pc:sldChg chg="add">
        <pc:chgData name="MARTIN Cyriel" userId="S::cyriel.martin@era.europa.eu::0b56f242-993b-4481-93f3-1404cce53605" providerId="AD" clId="Web-{038D72D9-84A0-A589-B24F-6561B5B83EB9}" dt="2023-04-21T07:19:33.113" v="11"/>
        <pc:sldMkLst>
          <pc:docMk/>
          <pc:sldMk cId="504965621" sldId="6757"/>
        </pc:sldMkLst>
      </pc:sldChg>
      <pc:sldChg chg="add">
        <pc:chgData name="MARTIN Cyriel" userId="S::cyriel.martin@era.europa.eu::0b56f242-993b-4481-93f3-1404cce53605" providerId="AD" clId="Web-{038D72D9-84A0-A589-B24F-6561B5B83EB9}" dt="2023-04-21T07:19:33.222" v="12"/>
        <pc:sldMkLst>
          <pc:docMk/>
          <pc:sldMk cId="617377844" sldId="6758"/>
        </pc:sldMkLst>
      </pc:sldChg>
      <pc:sldChg chg="add">
        <pc:chgData name="MARTIN Cyriel" userId="S::cyriel.martin@era.europa.eu::0b56f242-993b-4481-93f3-1404cce53605" providerId="AD" clId="Web-{038D72D9-84A0-A589-B24F-6561B5B83EB9}" dt="2023-04-21T07:19:33.363" v="13"/>
        <pc:sldMkLst>
          <pc:docMk/>
          <pc:sldMk cId="3479304808" sldId="6759"/>
        </pc:sldMkLst>
      </pc:sldChg>
      <pc:sldChg chg="add">
        <pc:chgData name="MARTIN Cyriel" userId="S::cyriel.martin@era.europa.eu::0b56f242-993b-4481-93f3-1404cce53605" providerId="AD" clId="Web-{038D72D9-84A0-A589-B24F-6561B5B83EB9}" dt="2023-04-21T07:19:33.441" v="14"/>
        <pc:sldMkLst>
          <pc:docMk/>
          <pc:sldMk cId="3205332100" sldId="6760"/>
        </pc:sldMkLst>
      </pc:sldChg>
      <pc:sldChg chg="add">
        <pc:chgData name="MARTIN Cyriel" userId="S::cyriel.martin@era.europa.eu::0b56f242-993b-4481-93f3-1404cce53605" providerId="AD" clId="Web-{038D72D9-84A0-A589-B24F-6561B5B83EB9}" dt="2023-04-21T07:19:33.706" v="15"/>
        <pc:sldMkLst>
          <pc:docMk/>
          <pc:sldMk cId="2678814083" sldId="6761"/>
        </pc:sldMkLst>
      </pc:sldChg>
      <pc:sldMasterChg chg="add addSldLayout">
        <pc:chgData name="MARTIN Cyriel" userId="S::cyriel.martin@era.europa.eu::0b56f242-993b-4481-93f3-1404cce53605" providerId="AD" clId="Web-{038D72D9-84A0-A589-B24F-6561B5B83EB9}" dt="2023-04-21T07:19:32.487" v="7"/>
        <pc:sldMasterMkLst>
          <pc:docMk/>
          <pc:sldMasterMk cId="3330432209" sldId="2147483660"/>
        </pc:sldMasterMkLst>
        <pc:sldLayoutChg chg="add">
          <pc:chgData name="MARTIN Cyriel" userId="S::cyriel.martin@era.europa.eu::0b56f242-993b-4481-93f3-1404cce53605" providerId="AD" clId="Web-{038D72D9-84A0-A589-B24F-6561B5B83EB9}" dt="2023-04-21T07:19:32.487" v="7"/>
          <pc:sldLayoutMkLst>
            <pc:docMk/>
            <pc:sldMasterMk cId="3330432209" sldId="2147483660"/>
            <pc:sldLayoutMk cId="1516667354" sldId="2147483661"/>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2691449111" sldId="2147483662"/>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3361586428" sldId="2147483663"/>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2966874213" sldId="2147483664"/>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1767757511" sldId="2147483666"/>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3363942829" sldId="2147483667"/>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1639423230" sldId="2147483668"/>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2615036853" sldId="2147483669"/>
          </pc:sldLayoutMkLst>
        </pc:sldLayoutChg>
        <pc:sldLayoutChg chg="add">
          <pc:chgData name="MARTIN Cyriel" userId="S::cyriel.martin@era.europa.eu::0b56f242-993b-4481-93f3-1404cce53605" providerId="AD" clId="Web-{038D72D9-84A0-A589-B24F-6561B5B83EB9}" dt="2023-04-21T07:19:32.487" v="7"/>
          <pc:sldLayoutMkLst>
            <pc:docMk/>
            <pc:sldMasterMk cId="3330432209" sldId="2147483660"/>
            <pc:sldLayoutMk cId="14033713" sldId="214748367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E2B28B-5FA4-4E95-94AC-CCCFF8EBDAE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4A55BAF6-12A2-40DF-9291-8FC36BFC7FC0}">
      <dgm:prSet phldrT="[Text]" custT="1"/>
      <dgm:spPr/>
      <dgm:t>
        <a:bodyPr/>
        <a:lstStyle/>
        <a:p>
          <a:r>
            <a:rPr lang="fr-BE" sz="2000"/>
            <a:t>Josef </a:t>
          </a:r>
          <a:r>
            <a:rPr lang="fr-BE" sz="2000" err="1"/>
            <a:t>Doppelbauer</a:t>
          </a:r>
          <a:endParaRPr lang="en-GB" sz="2000" err="1"/>
        </a:p>
      </dgm:t>
    </dgm:pt>
    <dgm:pt modelId="{094ADB54-5EC0-49E8-862A-EF1A67820848}" type="parTrans" cxnId="{EB580CDA-21CE-43DF-A1DC-99341CB945F5}">
      <dgm:prSet/>
      <dgm:spPr/>
      <dgm:t>
        <a:bodyPr/>
        <a:lstStyle/>
        <a:p>
          <a:endParaRPr lang="en-GB"/>
        </a:p>
      </dgm:t>
    </dgm:pt>
    <dgm:pt modelId="{878E099C-6DDA-424A-8F28-D9C8009FAA2A}" type="sibTrans" cxnId="{EB580CDA-21CE-43DF-A1DC-99341CB945F5}">
      <dgm:prSet/>
      <dgm:spPr/>
      <dgm:t>
        <a:bodyPr/>
        <a:lstStyle/>
        <a:p>
          <a:endParaRPr lang="en-GB"/>
        </a:p>
      </dgm:t>
    </dgm:pt>
    <dgm:pt modelId="{0FA63C86-0453-4454-B1FB-4F05BC4012D2}">
      <dgm:prSet phldrT="[Text]" custT="1"/>
      <dgm:spPr/>
      <dgm:t>
        <a:bodyPr/>
        <a:lstStyle/>
        <a:p>
          <a:r>
            <a:rPr lang="fr-BE" sz="2000"/>
            <a:t>Nathalie </a:t>
          </a:r>
          <a:r>
            <a:rPr lang="fr-BE" sz="2000" err="1"/>
            <a:t>Namavar</a:t>
          </a:r>
          <a:endParaRPr lang="en-GB" sz="2000"/>
        </a:p>
      </dgm:t>
    </dgm:pt>
    <dgm:pt modelId="{230EE446-31B4-4B66-AE81-CA374827CF2C}" type="parTrans" cxnId="{17A0CB42-E37D-472C-AB1D-525DA6C4B12E}">
      <dgm:prSet/>
      <dgm:spPr/>
      <dgm:t>
        <a:bodyPr/>
        <a:lstStyle/>
        <a:p>
          <a:endParaRPr lang="en-GB"/>
        </a:p>
      </dgm:t>
    </dgm:pt>
    <dgm:pt modelId="{EE0E7BCF-B420-42D4-800C-E10A0DF70916}" type="sibTrans" cxnId="{17A0CB42-E37D-472C-AB1D-525DA6C4B12E}">
      <dgm:prSet/>
      <dgm:spPr/>
      <dgm:t>
        <a:bodyPr/>
        <a:lstStyle/>
        <a:p>
          <a:endParaRPr lang="en-GB"/>
        </a:p>
      </dgm:t>
    </dgm:pt>
    <dgm:pt modelId="{C0BA1FF9-0D7E-4271-B991-DF2D4EC4CBCE}">
      <dgm:prSet phldrT="[Text]" custT="1"/>
      <dgm:spPr/>
      <dgm:t>
        <a:bodyPr/>
        <a:lstStyle/>
        <a:p>
          <a:r>
            <a:rPr lang="en-GB" sz="2000" b="0" i="0"/>
            <a:t>Oana </a:t>
          </a:r>
          <a:r>
            <a:rPr lang="en-GB" sz="2000" b="0" i="0" err="1"/>
            <a:t>Gherghinescu</a:t>
          </a:r>
          <a:endParaRPr lang="en-GB" sz="2000"/>
        </a:p>
      </dgm:t>
    </dgm:pt>
    <dgm:pt modelId="{8CEDB475-69CF-4320-B747-42CCD095DB76}" type="parTrans" cxnId="{FAAD3207-6111-4A70-B9D5-E09ED73BD324}">
      <dgm:prSet/>
      <dgm:spPr/>
      <dgm:t>
        <a:bodyPr/>
        <a:lstStyle/>
        <a:p>
          <a:endParaRPr lang="en-GB"/>
        </a:p>
      </dgm:t>
    </dgm:pt>
    <dgm:pt modelId="{3504A65A-883D-4934-AF1A-12A43934F4C1}" type="sibTrans" cxnId="{FAAD3207-6111-4A70-B9D5-E09ED73BD324}">
      <dgm:prSet/>
      <dgm:spPr/>
      <dgm:t>
        <a:bodyPr/>
        <a:lstStyle/>
        <a:p>
          <a:endParaRPr lang="en-GB"/>
        </a:p>
      </dgm:t>
    </dgm:pt>
    <dgm:pt modelId="{089C2FB9-2F1A-4448-BD43-85676F2D9290}">
      <dgm:prSet phldrT="[Text]" custT="1"/>
      <dgm:spPr/>
      <dgm:t>
        <a:bodyPr/>
        <a:lstStyle/>
        <a:p>
          <a:pPr rtl="0">
            <a:buNone/>
          </a:pPr>
          <a:r>
            <a:rPr lang="fr-BE" sz="1600" err="1"/>
            <a:t>Executive</a:t>
          </a:r>
          <a:r>
            <a:rPr lang="fr-BE" sz="1600"/>
            <a:t> </a:t>
          </a:r>
          <a:r>
            <a:rPr lang="fr-BE" sz="1600" err="1"/>
            <a:t>Director</a:t>
          </a:r>
          <a:r>
            <a:rPr lang="fr-BE" sz="1600"/>
            <a:t> </a:t>
          </a:r>
          <a:r>
            <a:rPr lang="en-GB" sz="1600" b="0" i="0"/>
            <a:t>| ERA</a:t>
          </a:r>
          <a:r>
            <a:rPr lang="fr-BE" sz="1600">
              <a:latin typeface="Calibri Light" panose="020F0302020204030204"/>
            </a:rPr>
            <a:t> </a:t>
          </a:r>
          <a:r>
            <a:rPr lang="fr-BE" sz="1600"/>
            <a:t> 	</a:t>
          </a:r>
          <a:endParaRPr lang="en-GB" sz="1600"/>
        </a:p>
      </dgm:t>
    </dgm:pt>
    <dgm:pt modelId="{6AB65096-44B0-4ECF-A223-11B804A980A2}" type="parTrans" cxnId="{5DA3EF5F-178E-4DBD-9D48-DE07A662E3E8}">
      <dgm:prSet/>
      <dgm:spPr/>
      <dgm:t>
        <a:bodyPr/>
        <a:lstStyle/>
        <a:p>
          <a:endParaRPr lang="en-GB"/>
        </a:p>
      </dgm:t>
    </dgm:pt>
    <dgm:pt modelId="{5A783DA7-D104-47AF-807C-6D9B871BAD35}" type="sibTrans" cxnId="{5DA3EF5F-178E-4DBD-9D48-DE07A662E3E8}">
      <dgm:prSet/>
      <dgm:spPr/>
      <dgm:t>
        <a:bodyPr/>
        <a:lstStyle/>
        <a:p>
          <a:endParaRPr lang="en-GB"/>
        </a:p>
      </dgm:t>
    </dgm:pt>
    <dgm:pt modelId="{49FC6893-ECA1-477A-A3EF-52B75FD7AB74}">
      <dgm:prSet phldrT="[Text]" custT="1"/>
      <dgm:spPr/>
      <dgm:t>
        <a:bodyPr/>
        <a:lstStyle/>
        <a:p>
          <a:pPr>
            <a:buNone/>
          </a:pPr>
          <a:r>
            <a:rPr lang="fr-BE" sz="1600"/>
            <a:t>Project </a:t>
          </a:r>
          <a:r>
            <a:rPr lang="fr-BE" sz="1600" err="1"/>
            <a:t>Officer</a:t>
          </a:r>
          <a:r>
            <a:rPr lang="fr-BE" sz="1600"/>
            <a:t> | ERA</a:t>
          </a:r>
          <a:endParaRPr lang="en-GB" sz="1600"/>
        </a:p>
      </dgm:t>
    </dgm:pt>
    <dgm:pt modelId="{EEF60C01-7969-4B8A-81D9-20A5DCC6E341}" type="parTrans" cxnId="{E5902E79-E1C6-4BF6-A1F6-6F374AE275A8}">
      <dgm:prSet/>
      <dgm:spPr/>
      <dgm:t>
        <a:bodyPr/>
        <a:lstStyle/>
        <a:p>
          <a:endParaRPr lang="en-GB"/>
        </a:p>
      </dgm:t>
    </dgm:pt>
    <dgm:pt modelId="{73FEC3C6-4106-44E3-9BD2-81B00B24A446}" type="sibTrans" cxnId="{E5902E79-E1C6-4BF6-A1F6-6F374AE275A8}">
      <dgm:prSet/>
      <dgm:spPr/>
      <dgm:t>
        <a:bodyPr/>
        <a:lstStyle/>
        <a:p>
          <a:endParaRPr lang="en-GB"/>
        </a:p>
      </dgm:t>
    </dgm:pt>
    <dgm:pt modelId="{D0AC594F-06EA-49E5-A70E-9AC021680447}">
      <dgm:prSet phldrT="[Text]" custT="1"/>
      <dgm:spPr/>
      <dgm:t>
        <a:bodyPr/>
        <a:lstStyle/>
        <a:p>
          <a:pPr rtl="0">
            <a:buNone/>
          </a:pPr>
          <a:r>
            <a:rPr lang="fr-BE" sz="1600" b="0" i="0" kern="1200">
              <a:solidFill>
                <a:prstClr val="black">
                  <a:hueOff val="0"/>
                  <a:satOff val="0"/>
                  <a:lumOff val="0"/>
                  <a:alphaOff val="0"/>
                </a:prstClr>
              </a:solidFill>
              <a:latin typeface="Calibri (body)"/>
              <a:ea typeface="+mn-ea"/>
              <a:cs typeface="+mn-cs"/>
            </a:rPr>
            <a:t>Head of CAP Unit </a:t>
          </a:r>
          <a:r>
            <a:rPr lang="en-GB" sz="1600" b="0" i="0" kern="1200">
              <a:solidFill>
                <a:prstClr val="black">
                  <a:hueOff val="0"/>
                  <a:satOff val="0"/>
                  <a:lumOff val="0"/>
                  <a:alphaOff val="0"/>
                </a:prstClr>
              </a:solidFill>
              <a:latin typeface="Calibri" panose="020F0502020204030204"/>
              <a:ea typeface="+mn-ea"/>
              <a:cs typeface="+mn-cs"/>
            </a:rPr>
            <a:t>| </a:t>
          </a:r>
          <a:r>
            <a:rPr lang="en-GB" sz="1600" b="0" i="0" kern="1200"/>
            <a:t>ERA</a:t>
          </a:r>
          <a:endParaRPr lang="en-GB" sz="1600" kern="1200"/>
        </a:p>
      </dgm:t>
    </dgm:pt>
    <dgm:pt modelId="{5A329671-72D8-48DF-9204-2F62383BF81F}" type="parTrans" cxnId="{0A294B64-480D-40A0-9BCC-006D93215A63}">
      <dgm:prSet/>
      <dgm:spPr/>
      <dgm:t>
        <a:bodyPr/>
        <a:lstStyle/>
        <a:p>
          <a:endParaRPr lang="en-GB"/>
        </a:p>
      </dgm:t>
    </dgm:pt>
    <dgm:pt modelId="{2A0B7FB4-CC4C-486E-969F-F0BBF814B9C4}" type="sibTrans" cxnId="{0A294B64-480D-40A0-9BCC-006D93215A63}">
      <dgm:prSet/>
      <dgm:spPr/>
      <dgm:t>
        <a:bodyPr/>
        <a:lstStyle/>
        <a:p>
          <a:endParaRPr lang="en-GB"/>
        </a:p>
      </dgm:t>
    </dgm:pt>
    <dgm:pt modelId="{1CC92BCD-2F96-4A99-9FB9-DF1BDF7990F4}">
      <dgm:prSet phldrT="[Text]" custT="1"/>
      <dgm:spPr/>
      <dgm:t>
        <a:bodyPr/>
        <a:lstStyle/>
        <a:p>
          <a:r>
            <a:rPr lang="en-GB" sz="2000" b="0" i="0"/>
            <a:t>Anna Gigantino</a:t>
          </a:r>
          <a:endParaRPr lang="en-GB" sz="2000"/>
        </a:p>
      </dgm:t>
    </dgm:pt>
    <dgm:pt modelId="{76B71FEA-1875-472C-BF09-0D04C9FFB54C}" type="parTrans" cxnId="{C6D3F41A-7CE4-4100-A33D-767CC7467B5A}">
      <dgm:prSet/>
      <dgm:spPr/>
      <dgm:t>
        <a:bodyPr/>
        <a:lstStyle/>
        <a:p>
          <a:endParaRPr lang="en-GB"/>
        </a:p>
      </dgm:t>
    </dgm:pt>
    <dgm:pt modelId="{9C61556F-6F01-425E-9FD1-94B17D544147}" type="sibTrans" cxnId="{C6D3F41A-7CE4-4100-A33D-767CC7467B5A}">
      <dgm:prSet/>
      <dgm:spPr/>
      <dgm:t>
        <a:bodyPr/>
        <a:lstStyle/>
        <a:p>
          <a:endParaRPr lang="en-GB"/>
        </a:p>
      </dgm:t>
    </dgm:pt>
    <dgm:pt modelId="{6D38FFA0-4455-4C54-8540-EAD3679F9B85}">
      <dgm:prSet phldrT="[Text]" custT="1"/>
      <dgm:spPr/>
      <dgm:t>
        <a:bodyPr/>
        <a:lstStyle/>
        <a:p>
          <a:pPr>
            <a:buNone/>
          </a:pPr>
          <a:r>
            <a:rPr lang="fr-BE" sz="1600"/>
            <a:t>Head of MARS Unit | ERA</a:t>
          </a:r>
          <a:endParaRPr lang="en-GB" sz="1600"/>
        </a:p>
      </dgm:t>
    </dgm:pt>
    <dgm:pt modelId="{ED9FA2BD-43B7-4556-AD5E-221D30856CEA}" type="parTrans" cxnId="{472BD8E5-40E4-478B-A60F-A813A11D2741}">
      <dgm:prSet/>
      <dgm:spPr/>
      <dgm:t>
        <a:bodyPr/>
        <a:lstStyle/>
        <a:p>
          <a:endParaRPr lang="en-GB"/>
        </a:p>
      </dgm:t>
    </dgm:pt>
    <dgm:pt modelId="{6316861B-AB83-4469-9A3D-25E789C8BB22}" type="sibTrans" cxnId="{472BD8E5-40E4-478B-A60F-A813A11D2741}">
      <dgm:prSet/>
      <dgm:spPr/>
      <dgm:t>
        <a:bodyPr/>
        <a:lstStyle/>
        <a:p>
          <a:endParaRPr lang="en-GB"/>
        </a:p>
      </dgm:t>
    </dgm:pt>
    <dgm:pt modelId="{AA617A21-657D-4882-8A4D-06A143BE09CC}">
      <dgm:prSet phldrT="[Text]" custT="1"/>
      <dgm:spPr/>
      <dgm:t>
        <a:bodyPr/>
        <a:lstStyle/>
        <a:p>
          <a:pPr>
            <a:buNone/>
          </a:pPr>
          <a:r>
            <a:rPr lang="fr-BE" sz="2000"/>
            <a:t>Clio Liégeois</a:t>
          </a:r>
          <a:endParaRPr lang="en-GB" sz="2000"/>
        </a:p>
      </dgm:t>
    </dgm:pt>
    <dgm:pt modelId="{380DC13F-CA28-46B4-9A50-9714CDBE7124}" type="parTrans" cxnId="{EF2FE3D1-F976-4C96-90BC-D43943D3D052}">
      <dgm:prSet/>
      <dgm:spPr/>
      <dgm:t>
        <a:bodyPr/>
        <a:lstStyle/>
        <a:p>
          <a:endParaRPr lang="en-GB"/>
        </a:p>
      </dgm:t>
    </dgm:pt>
    <dgm:pt modelId="{2C9208CD-04A5-4C39-A193-D09A1B942001}" type="sibTrans" cxnId="{EF2FE3D1-F976-4C96-90BC-D43943D3D052}">
      <dgm:prSet/>
      <dgm:spPr/>
      <dgm:t>
        <a:bodyPr/>
        <a:lstStyle/>
        <a:p>
          <a:endParaRPr lang="en-GB"/>
        </a:p>
      </dgm:t>
    </dgm:pt>
    <dgm:pt modelId="{B3D8F5AA-5909-416E-B80C-B2DB6EE9F0EE}">
      <dgm:prSet phldrT="[Text]" custT="1"/>
      <dgm:spPr/>
      <dgm:t>
        <a:bodyPr/>
        <a:lstStyle/>
        <a:p>
          <a:pPr>
            <a:buNone/>
          </a:pPr>
          <a:r>
            <a:rPr lang="en-GB" sz="2000" b="0" i="0"/>
            <a:t>Paloma Iribas Forcat</a:t>
          </a:r>
          <a:endParaRPr lang="en-GB" sz="2000" b="0"/>
        </a:p>
      </dgm:t>
    </dgm:pt>
    <dgm:pt modelId="{2871003D-4010-4EB8-9AD5-09DFB680D435}" type="parTrans" cxnId="{9BBCA2AA-686D-43F1-AC8D-23A207F13AF9}">
      <dgm:prSet/>
      <dgm:spPr/>
      <dgm:t>
        <a:bodyPr/>
        <a:lstStyle/>
        <a:p>
          <a:endParaRPr lang="en-GB"/>
        </a:p>
      </dgm:t>
    </dgm:pt>
    <dgm:pt modelId="{E5C459AE-AC1F-4D32-ADDF-EE7AEC62A658}" type="sibTrans" cxnId="{9BBCA2AA-686D-43F1-AC8D-23A207F13AF9}">
      <dgm:prSet/>
      <dgm:spPr/>
      <dgm:t>
        <a:bodyPr/>
        <a:lstStyle/>
        <a:p>
          <a:endParaRPr lang="en-GB"/>
        </a:p>
      </dgm:t>
    </dgm:pt>
    <dgm:pt modelId="{4BFEC4AB-AE0E-4754-9B2E-437F98F23BEB}">
      <dgm:prSet phldrT="[Text]" custT="1"/>
      <dgm:spPr/>
      <dgm:t>
        <a:bodyPr/>
        <a:lstStyle/>
        <a:p>
          <a:pPr>
            <a:buNone/>
          </a:pPr>
          <a:r>
            <a:rPr lang="fr-BE" sz="1600"/>
            <a:t>Chair </a:t>
          </a:r>
          <a:r>
            <a:rPr lang="en-GB" sz="1600" b="0" i="0"/>
            <a:t>| ERA Management Board</a:t>
          </a:r>
          <a:endParaRPr lang="en-GB" sz="1600"/>
        </a:p>
      </dgm:t>
    </dgm:pt>
    <dgm:pt modelId="{025F8207-DACB-4C0F-B9D4-B95C3A6CE7F5}" type="parTrans" cxnId="{7CEB0FC7-A0CC-44DF-8FCC-043C17597E1A}">
      <dgm:prSet/>
      <dgm:spPr/>
      <dgm:t>
        <a:bodyPr/>
        <a:lstStyle/>
        <a:p>
          <a:endParaRPr lang="en-GB"/>
        </a:p>
      </dgm:t>
    </dgm:pt>
    <dgm:pt modelId="{79518B65-EAEB-4039-A91A-806D581E796A}" type="sibTrans" cxnId="{7CEB0FC7-A0CC-44DF-8FCC-043C17597E1A}">
      <dgm:prSet/>
      <dgm:spPr/>
      <dgm:t>
        <a:bodyPr/>
        <a:lstStyle/>
        <a:p>
          <a:endParaRPr lang="en-GB"/>
        </a:p>
      </dgm:t>
    </dgm:pt>
    <dgm:pt modelId="{446BDAEE-1D4D-4F76-B63A-C0198C1849BC}">
      <dgm:prSet phldrT="[Text]" custT="1"/>
      <dgm:spPr/>
      <dgm:t>
        <a:bodyPr/>
        <a:lstStyle/>
        <a:p>
          <a:pPr>
            <a:buNone/>
          </a:pPr>
          <a:r>
            <a:rPr lang="en-GB" sz="2000" b="0" i="0"/>
            <a:t>Alice </a:t>
          </a:r>
          <a:r>
            <a:rPr lang="en-GB" sz="2000" b="0" i="0" err="1"/>
            <a:t>Consilvio</a:t>
          </a:r>
          <a:endParaRPr lang="en-GB" sz="2000" b="0"/>
        </a:p>
      </dgm:t>
    </dgm:pt>
    <dgm:pt modelId="{19664FA7-F11D-436B-8B13-64A861E2DF93}" type="parTrans" cxnId="{0B9DC02E-70E1-45E1-BAD2-AD3A1AA37939}">
      <dgm:prSet/>
      <dgm:spPr/>
      <dgm:t>
        <a:bodyPr/>
        <a:lstStyle/>
        <a:p>
          <a:endParaRPr lang="en-GB"/>
        </a:p>
      </dgm:t>
    </dgm:pt>
    <dgm:pt modelId="{D77330AB-FCCC-4EB4-AFA5-000E8A224F85}" type="sibTrans" cxnId="{0B9DC02E-70E1-45E1-BAD2-AD3A1AA37939}">
      <dgm:prSet/>
      <dgm:spPr/>
      <dgm:t>
        <a:bodyPr/>
        <a:lstStyle/>
        <a:p>
          <a:endParaRPr lang="en-GB"/>
        </a:p>
      </dgm:t>
    </dgm:pt>
    <dgm:pt modelId="{F0537FC7-35BB-48E3-B994-0993861AEED3}">
      <dgm:prSet phldrT="[Text]" custT="1"/>
      <dgm:spPr/>
      <dgm:t>
        <a:bodyPr/>
        <a:lstStyle/>
        <a:p>
          <a:pPr>
            <a:buNone/>
          </a:pPr>
          <a:r>
            <a:rPr lang="en-US" sz="1600" b="0" i="0"/>
            <a:t>Spanish representative | ERA Management Board </a:t>
          </a:r>
          <a:endParaRPr lang="en-GB" sz="1600"/>
        </a:p>
      </dgm:t>
    </dgm:pt>
    <dgm:pt modelId="{A30DEBB8-7002-4CCF-A9AD-EAE7FC61AE03}" type="parTrans" cxnId="{8C08AD4E-2A62-46FA-AC1F-1F459754FCC4}">
      <dgm:prSet/>
      <dgm:spPr/>
      <dgm:t>
        <a:bodyPr/>
        <a:lstStyle/>
        <a:p>
          <a:endParaRPr lang="en-GB"/>
        </a:p>
      </dgm:t>
    </dgm:pt>
    <dgm:pt modelId="{E658941B-5F61-42CF-B0DE-EE0CD384FE42}" type="sibTrans" cxnId="{8C08AD4E-2A62-46FA-AC1F-1F459754FCC4}">
      <dgm:prSet/>
      <dgm:spPr/>
      <dgm:t>
        <a:bodyPr/>
        <a:lstStyle/>
        <a:p>
          <a:endParaRPr lang="en-GB"/>
        </a:p>
      </dgm:t>
    </dgm:pt>
    <dgm:pt modelId="{50E72758-FEAC-477C-BB18-E65F1941A6BB}">
      <dgm:prSet phldrT="[Text]" custT="1"/>
      <dgm:spPr/>
      <dgm:t>
        <a:bodyPr/>
        <a:lstStyle/>
        <a:p>
          <a:pPr>
            <a:buNone/>
          </a:pPr>
          <a:r>
            <a:rPr lang="fr-BE" sz="1600" err="1"/>
            <a:t>Researcher</a:t>
          </a:r>
          <a:r>
            <a:rPr lang="fr-BE" sz="1600"/>
            <a:t> | STAFFER Project</a:t>
          </a:r>
          <a:endParaRPr lang="en-GB" sz="1600"/>
        </a:p>
      </dgm:t>
    </dgm:pt>
    <dgm:pt modelId="{EC1E14FC-6A6A-4135-81FF-128D50B5E0B4}" type="parTrans" cxnId="{320C6F9B-6AC8-425E-BD0D-8E20741BFCB1}">
      <dgm:prSet/>
      <dgm:spPr/>
      <dgm:t>
        <a:bodyPr/>
        <a:lstStyle/>
        <a:p>
          <a:endParaRPr lang="en-GB"/>
        </a:p>
      </dgm:t>
    </dgm:pt>
    <dgm:pt modelId="{F516B447-8F68-4579-A48A-9A795AD57F14}" type="sibTrans" cxnId="{320C6F9B-6AC8-425E-BD0D-8E20741BFCB1}">
      <dgm:prSet/>
      <dgm:spPr/>
      <dgm:t>
        <a:bodyPr/>
        <a:lstStyle/>
        <a:p>
          <a:endParaRPr lang="en-GB"/>
        </a:p>
      </dgm:t>
    </dgm:pt>
    <dgm:pt modelId="{FEFF6E4F-2E68-4105-A67D-CC88951592BA}" type="pres">
      <dgm:prSet presAssocID="{C0E2B28B-5FA4-4E95-94AC-CCCFF8EBDAE8}" presName="linear" presStyleCnt="0">
        <dgm:presLayoutVars>
          <dgm:dir/>
          <dgm:animLvl val="lvl"/>
          <dgm:resizeHandles val="exact"/>
        </dgm:presLayoutVars>
      </dgm:prSet>
      <dgm:spPr/>
    </dgm:pt>
    <dgm:pt modelId="{21FEEBFB-76B9-483F-B5F3-CA1A6F4C8A68}" type="pres">
      <dgm:prSet presAssocID="{4A55BAF6-12A2-40DF-9291-8FC36BFC7FC0}" presName="parentLin" presStyleCnt="0"/>
      <dgm:spPr/>
    </dgm:pt>
    <dgm:pt modelId="{5E45C573-496B-4C15-816F-29464BC3E049}" type="pres">
      <dgm:prSet presAssocID="{4A55BAF6-12A2-40DF-9291-8FC36BFC7FC0}" presName="parentLeftMargin" presStyleLbl="node1" presStyleIdx="0" presStyleCnt="7"/>
      <dgm:spPr/>
    </dgm:pt>
    <dgm:pt modelId="{1408A262-8D5E-4823-A211-C85ECF293771}" type="pres">
      <dgm:prSet presAssocID="{4A55BAF6-12A2-40DF-9291-8FC36BFC7FC0}" presName="parentText" presStyleLbl="node1" presStyleIdx="0" presStyleCnt="7">
        <dgm:presLayoutVars>
          <dgm:chMax val="0"/>
          <dgm:bulletEnabled val="1"/>
        </dgm:presLayoutVars>
      </dgm:prSet>
      <dgm:spPr/>
    </dgm:pt>
    <dgm:pt modelId="{D0FF1190-EF34-4CE0-A251-60ECA4464CC0}" type="pres">
      <dgm:prSet presAssocID="{4A55BAF6-12A2-40DF-9291-8FC36BFC7FC0}" presName="negativeSpace" presStyleCnt="0"/>
      <dgm:spPr/>
    </dgm:pt>
    <dgm:pt modelId="{EBAE7FE3-2773-4EE6-A957-B078324A11FE}" type="pres">
      <dgm:prSet presAssocID="{4A55BAF6-12A2-40DF-9291-8FC36BFC7FC0}" presName="childText" presStyleLbl="conFgAcc1" presStyleIdx="0" presStyleCnt="7">
        <dgm:presLayoutVars>
          <dgm:bulletEnabled val="1"/>
        </dgm:presLayoutVars>
      </dgm:prSet>
      <dgm:spPr/>
    </dgm:pt>
    <dgm:pt modelId="{E00BA3E3-8952-4BCC-8DF8-D90B163C7C46}" type="pres">
      <dgm:prSet presAssocID="{878E099C-6DDA-424A-8F28-D9C8009FAA2A}" presName="spaceBetweenRectangles" presStyleCnt="0"/>
      <dgm:spPr/>
    </dgm:pt>
    <dgm:pt modelId="{40277D8E-DA73-48E4-B663-01754019427B}" type="pres">
      <dgm:prSet presAssocID="{0FA63C86-0453-4454-B1FB-4F05BC4012D2}" presName="parentLin" presStyleCnt="0"/>
      <dgm:spPr/>
    </dgm:pt>
    <dgm:pt modelId="{39E17907-AB83-4967-AF38-F163013656B2}" type="pres">
      <dgm:prSet presAssocID="{0FA63C86-0453-4454-B1FB-4F05BC4012D2}" presName="parentLeftMargin" presStyleLbl="node1" presStyleIdx="0" presStyleCnt="7"/>
      <dgm:spPr/>
    </dgm:pt>
    <dgm:pt modelId="{BD4A7DD0-585F-48B2-B155-33A3A045A447}" type="pres">
      <dgm:prSet presAssocID="{0FA63C86-0453-4454-B1FB-4F05BC4012D2}" presName="parentText" presStyleLbl="node1" presStyleIdx="1" presStyleCnt="7">
        <dgm:presLayoutVars>
          <dgm:chMax val="0"/>
          <dgm:bulletEnabled val="1"/>
        </dgm:presLayoutVars>
      </dgm:prSet>
      <dgm:spPr/>
    </dgm:pt>
    <dgm:pt modelId="{252FDC87-F226-44BB-8B66-235FFCE28F29}" type="pres">
      <dgm:prSet presAssocID="{0FA63C86-0453-4454-B1FB-4F05BC4012D2}" presName="negativeSpace" presStyleCnt="0"/>
      <dgm:spPr/>
    </dgm:pt>
    <dgm:pt modelId="{5E16760C-9002-4AD2-8FC9-6D0314027DF0}" type="pres">
      <dgm:prSet presAssocID="{0FA63C86-0453-4454-B1FB-4F05BC4012D2}" presName="childText" presStyleLbl="conFgAcc1" presStyleIdx="1" presStyleCnt="7">
        <dgm:presLayoutVars>
          <dgm:bulletEnabled val="1"/>
        </dgm:presLayoutVars>
      </dgm:prSet>
      <dgm:spPr/>
    </dgm:pt>
    <dgm:pt modelId="{0AA7D66E-BF21-400B-899B-5892C5EE4654}" type="pres">
      <dgm:prSet presAssocID="{EE0E7BCF-B420-42D4-800C-E10A0DF70916}" presName="spaceBetweenRectangles" presStyleCnt="0"/>
      <dgm:spPr/>
    </dgm:pt>
    <dgm:pt modelId="{44BD0DB1-559E-4D11-AF5C-0DB95FB1D29F}" type="pres">
      <dgm:prSet presAssocID="{C0BA1FF9-0D7E-4271-B991-DF2D4EC4CBCE}" presName="parentLin" presStyleCnt="0"/>
      <dgm:spPr/>
    </dgm:pt>
    <dgm:pt modelId="{7DDE20FE-A4AE-4439-B9D7-BA3C88A9CB50}" type="pres">
      <dgm:prSet presAssocID="{C0BA1FF9-0D7E-4271-B991-DF2D4EC4CBCE}" presName="parentLeftMargin" presStyleLbl="node1" presStyleIdx="1" presStyleCnt="7"/>
      <dgm:spPr/>
    </dgm:pt>
    <dgm:pt modelId="{830A9914-5803-4AB2-89A0-EDE778BFB296}" type="pres">
      <dgm:prSet presAssocID="{C0BA1FF9-0D7E-4271-B991-DF2D4EC4CBCE}" presName="parentText" presStyleLbl="node1" presStyleIdx="2" presStyleCnt="7">
        <dgm:presLayoutVars>
          <dgm:chMax val="0"/>
          <dgm:bulletEnabled val="1"/>
        </dgm:presLayoutVars>
      </dgm:prSet>
      <dgm:spPr/>
    </dgm:pt>
    <dgm:pt modelId="{DF7E62EC-31E0-4D05-BF29-8CFC9B2F0F7B}" type="pres">
      <dgm:prSet presAssocID="{C0BA1FF9-0D7E-4271-B991-DF2D4EC4CBCE}" presName="negativeSpace" presStyleCnt="0"/>
      <dgm:spPr/>
    </dgm:pt>
    <dgm:pt modelId="{9B4E49C2-FA40-4DF7-9786-A7414D4E58D9}" type="pres">
      <dgm:prSet presAssocID="{C0BA1FF9-0D7E-4271-B991-DF2D4EC4CBCE}" presName="childText" presStyleLbl="conFgAcc1" presStyleIdx="2" presStyleCnt="7" custLinFactNeighborX="339" custLinFactNeighborY="-423">
        <dgm:presLayoutVars>
          <dgm:bulletEnabled val="1"/>
        </dgm:presLayoutVars>
      </dgm:prSet>
      <dgm:spPr/>
    </dgm:pt>
    <dgm:pt modelId="{7FA86686-F340-4F47-9B25-5DD53C1499E6}" type="pres">
      <dgm:prSet presAssocID="{3504A65A-883D-4934-AF1A-12A43934F4C1}" presName="spaceBetweenRectangles" presStyleCnt="0"/>
      <dgm:spPr/>
    </dgm:pt>
    <dgm:pt modelId="{2317E05B-4AC8-4CBA-84D9-165024DF54B3}" type="pres">
      <dgm:prSet presAssocID="{1CC92BCD-2F96-4A99-9FB9-DF1BDF7990F4}" presName="parentLin" presStyleCnt="0"/>
      <dgm:spPr/>
    </dgm:pt>
    <dgm:pt modelId="{757E6648-3C3F-4DE9-8FF6-D0A6B59CE938}" type="pres">
      <dgm:prSet presAssocID="{1CC92BCD-2F96-4A99-9FB9-DF1BDF7990F4}" presName="parentLeftMargin" presStyleLbl="node1" presStyleIdx="2" presStyleCnt="7"/>
      <dgm:spPr/>
    </dgm:pt>
    <dgm:pt modelId="{E97AD577-6A79-467E-96FE-3FF7B2C665EB}" type="pres">
      <dgm:prSet presAssocID="{1CC92BCD-2F96-4A99-9FB9-DF1BDF7990F4}" presName="parentText" presStyleLbl="node1" presStyleIdx="3" presStyleCnt="7">
        <dgm:presLayoutVars>
          <dgm:chMax val="0"/>
          <dgm:bulletEnabled val="1"/>
        </dgm:presLayoutVars>
      </dgm:prSet>
      <dgm:spPr/>
    </dgm:pt>
    <dgm:pt modelId="{A24183C0-4D8C-4EE8-92CE-DDAFD91023C8}" type="pres">
      <dgm:prSet presAssocID="{1CC92BCD-2F96-4A99-9FB9-DF1BDF7990F4}" presName="negativeSpace" presStyleCnt="0"/>
      <dgm:spPr/>
    </dgm:pt>
    <dgm:pt modelId="{E20CFEF9-BE59-4999-90B9-136A365A3026}" type="pres">
      <dgm:prSet presAssocID="{1CC92BCD-2F96-4A99-9FB9-DF1BDF7990F4}" presName="childText" presStyleLbl="conFgAcc1" presStyleIdx="3" presStyleCnt="7">
        <dgm:presLayoutVars>
          <dgm:bulletEnabled val="1"/>
        </dgm:presLayoutVars>
      </dgm:prSet>
      <dgm:spPr/>
    </dgm:pt>
    <dgm:pt modelId="{3D8CC19A-63FE-450C-A614-E46C42685BCC}" type="pres">
      <dgm:prSet presAssocID="{9C61556F-6F01-425E-9FD1-94B17D544147}" presName="spaceBetweenRectangles" presStyleCnt="0"/>
      <dgm:spPr/>
    </dgm:pt>
    <dgm:pt modelId="{E4006C1E-5F3E-40C6-83B3-44A3EA61BC19}" type="pres">
      <dgm:prSet presAssocID="{AA617A21-657D-4882-8A4D-06A143BE09CC}" presName="parentLin" presStyleCnt="0"/>
      <dgm:spPr/>
    </dgm:pt>
    <dgm:pt modelId="{56425D13-3C1C-43EB-8A0E-356175D022CC}" type="pres">
      <dgm:prSet presAssocID="{AA617A21-657D-4882-8A4D-06A143BE09CC}" presName="parentLeftMargin" presStyleLbl="node1" presStyleIdx="3" presStyleCnt="7"/>
      <dgm:spPr/>
    </dgm:pt>
    <dgm:pt modelId="{D0F3E990-DD01-435B-BBDE-54CFC99E4C0F}" type="pres">
      <dgm:prSet presAssocID="{AA617A21-657D-4882-8A4D-06A143BE09CC}" presName="parentText" presStyleLbl="node1" presStyleIdx="4" presStyleCnt="7">
        <dgm:presLayoutVars>
          <dgm:chMax val="0"/>
          <dgm:bulletEnabled val="1"/>
        </dgm:presLayoutVars>
      </dgm:prSet>
      <dgm:spPr/>
    </dgm:pt>
    <dgm:pt modelId="{368C4531-F445-4205-8654-090335CE5A00}" type="pres">
      <dgm:prSet presAssocID="{AA617A21-657D-4882-8A4D-06A143BE09CC}" presName="negativeSpace" presStyleCnt="0"/>
      <dgm:spPr/>
    </dgm:pt>
    <dgm:pt modelId="{FE746151-E4C6-4D03-B247-6CA33302F1E0}" type="pres">
      <dgm:prSet presAssocID="{AA617A21-657D-4882-8A4D-06A143BE09CC}" presName="childText" presStyleLbl="conFgAcc1" presStyleIdx="4" presStyleCnt="7">
        <dgm:presLayoutVars>
          <dgm:bulletEnabled val="1"/>
        </dgm:presLayoutVars>
      </dgm:prSet>
      <dgm:spPr/>
    </dgm:pt>
    <dgm:pt modelId="{566EA879-FE7A-4AC2-BE70-F14238D3B597}" type="pres">
      <dgm:prSet presAssocID="{2C9208CD-04A5-4C39-A193-D09A1B942001}" presName="spaceBetweenRectangles" presStyleCnt="0"/>
      <dgm:spPr/>
    </dgm:pt>
    <dgm:pt modelId="{DBB3288C-21BD-49D0-8B64-213C98F56ED1}" type="pres">
      <dgm:prSet presAssocID="{B3D8F5AA-5909-416E-B80C-B2DB6EE9F0EE}" presName="parentLin" presStyleCnt="0"/>
      <dgm:spPr/>
    </dgm:pt>
    <dgm:pt modelId="{8D6BA81C-3570-4251-AD9B-6701A11081C0}" type="pres">
      <dgm:prSet presAssocID="{B3D8F5AA-5909-416E-B80C-B2DB6EE9F0EE}" presName="parentLeftMargin" presStyleLbl="node1" presStyleIdx="4" presStyleCnt="7"/>
      <dgm:spPr/>
    </dgm:pt>
    <dgm:pt modelId="{CB2D5C2E-9111-4F64-B3B3-D2947851ABE8}" type="pres">
      <dgm:prSet presAssocID="{B3D8F5AA-5909-416E-B80C-B2DB6EE9F0EE}" presName="parentText" presStyleLbl="node1" presStyleIdx="5" presStyleCnt="7">
        <dgm:presLayoutVars>
          <dgm:chMax val="0"/>
          <dgm:bulletEnabled val="1"/>
        </dgm:presLayoutVars>
      </dgm:prSet>
      <dgm:spPr/>
    </dgm:pt>
    <dgm:pt modelId="{A9BE2EB4-43F9-4A50-9EDE-8B84585DBBA1}" type="pres">
      <dgm:prSet presAssocID="{B3D8F5AA-5909-416E-B80C-B2DB6EE9F0EE}" presName="negativeSpace" presStyleCnt="0"/>
      <dgm:spPr/>
    </dgm:pt>
    <dgm:pt modelId="{AD020C22-78DC-4B4A-B032-EE7B86C442EA}" type="pres">
      <dgm:prSet presAssocID="{B3D8F5AA-5909-416E-B80C-B2DB6EE9F0EE}" presName="childText" presStyleLbl="conFgAcc1" presStyleIdx="5" presStyleCnt="7">
        <dgm:presLayoutVars>
          <dgm:bulletEnabled val="1"/>
        </dgm:presLayoutVars>
      </dgm:prSet>
      <dgm:spPr/>
    </dgm:pt>
    <dgm:pt modelId="{CBEDCA40-4591-4E6B-88F8-3EBF11D1DA4E}" type="pres">
      <dgm:prSet presAssocID="{E5C459AE-AC1F-4D32-ADDF-EE7AEC62A658}" presName="spaceBetweenRectangles" presStyleCnt="0"/>
      <dgm:spPr/>
    </dgm:pt>
    <dgm:pt modelId="{EE07F02D-FC8C-4986-86D4-D43C9CB46094}" type="pres">
      <dgm:prSet presAssocID="{446BDAEE-1D4D-4F76-B63A-C0198C1849BC}" presName="parentLin" presStyleCnt="0"/>
      <dgm:spPr/>
    </dgm:pt>
    <dgm:pt modelId="{C2C99336-4FB6-4FE9-B32B-C9028597EFD5}" type="pres">
      <dgm:prSet presAssocID="{446BDAEE-1D4D-4F76-B63A-C0198C1849BC}" presName="parentLeftMargin" presStyleLbl="node1" presStyleIdx="5" presStyleCnt="7"/>
      <dgm:spPr/>
    </dgm:pt>
    <dgm:pt modelId="{2567782E-09DC-425A-A630-CD6CBBBDE2C9}" type="pres">
      <dgm:prSet presAssocID="{446BDAEE-1D4D-4F76-B63A-C0198C1849BC}" presName="parentText" presStyleLbl="node1" presStyleIdx="6" presStyleCnt="7">
        <dgm:presLayoutVars>
          <dgm:chMax val="0"/>
          <dgm:bulletEnabled val="1"/>
        </dgm:presLayoutVars>
      </dgm:prSet>
      <dgm:spPr/>
    </dgm:pt>
    <dgm:pt modelId="{D9EF8C46-6550-4694-A7F7-F74E60B9BBA1}" type="pres">
      <dgm:prSet presAssocID="{446BDAEE-1D4D-4F76-B63A-C0198C1849BC}" presName="negativeSpace" presStyleCnt="0"/>
      <dgm:spPr/>
    </dgm:pt>
    <dgm:pt modelId="{A4E38EA3-CC80-4705-956E-4819A18AE7DF}" type="pres">
      <dgm:prSet presAssocID="{446BDAEE-1D4D-4F76-B63A-C0198C1849BC}" presName="childText" presStyleLbl="conFgAcc1" presStyleIdx="6" presStyleCnt="7">
        <dgm:presLayoutVars>
          <dgm:bulletEnabled val="1"/>
        </dgm:presLayoutVars>
      </dgm:prSet>
      <dgm:spPr/>
    </dgm:pt>
  </dgm:ptLst>
  <dgm:cxnLst>
    <dgm:cxn modelId="{39611B01-39B2-45C6-9B43-1D303AFB97A7}" type="presOf" srcId="{446BDAEE-1D4D-4F76-B63A-C0198C1849BC}" destId="{2567782E-09DC-425A-A630-CD6CBBBDE2C9}" srcOrd="1" destOrd="0" presId="urn:microsoft.com/office/officeart/2005/8/layout/list1"/>
    <dgm:cxn modelId="{FAAD3207-6111-4A70-B9D5-E09ED73BD324}" srcId="{C0E2B28B-5FA4-4E95-94AC-CCCFF8EBDAE8}" destId="{C0BA1FF9-0D7E-4271-B991-DF2D4EC4CBCE}" srcOrd="2" destOrd="0" parTransId="{8CEDB475-69CF-4320-B747-42CCD095DB76}" sibTransId="{3504A65A-883D-4934-AF1A-12A43934F4C1}"/>
    <dgm:cxn modelId="{C6D3F41A-7CE4-4100-A33D-767CC7467B5A}" srcId="{C0E2B28B-5FA4-4E95-94AC-CCCFF8EBDAE8}" destId="{1CC92BCD-2F96-4A99-9FB9-DF1BDF7990F4}" srcOrd="3" destOrd="0" parTransId="{76B71FEA-1875-472C-BF09-0D04C9FFB54C}" sibTransId="{9C61556F-6F01-425E-9FD1-94B17D544147}"/>
    <dgm:cxn modelId="{AF1B3022-8AF0-40F9-A315-3AB287062112}" type="presOf" srcId="{50E72758-FEAC-477C-BB18-E65F1941A6BB}" destId="{A4E38EA3-CC80-4705-956E-4819A18AE7DF}" srcOrd="0" destOrd="0" presId="urn:microsoft.com/office/officeart/2005/8/layout/list1"/>
    <dgm:cxn modelId="{0794C828-FD6F-4E73-840F-0F8995A3C22A}" type="presOf" srcId="{089C2FB9-2F1A-4448-BD43-85676F2D9290}" destId="{EBAE7FE3-2773-4EE6-A957-B078324A11FE}" srcOrd="0" destOrd="0" presId="urn:microsoft.com/office/officeart/2005/8/layout/list1"/>
    <dgm:cxn modelId="{0B9DC02E-70E1-45E1-BAD2-AD3A1AA37939}" srcId="{C0E2B28B-5FA4-4E95-94AC-CCCFF8EBDAE8}" destId="{446BDAEE-1D4D-4F76-B63A-C0198C1849BC}" srcOrd="6" destOrd="0" parTransId="{19664FA7-F11D-436B-8B13-64A861E2DF93}" sibTransId="{D77330AB-FCCC-4EB4-AFA5-000E8A224F85}"/>
    <dgm:cxn modelId="{5DA3EF5F-178E-4DBD-9D48-DE07A662E3E8}" srcId="{4A55BAF6-12A2-40DF-9291-8FC36BFC7FC0}" destId="{089C2FB9-2F1A-4448-BD43-85676F2D9290}" srcOrd="0" destOrd="0" parTransId="{6AB65096-44B0-4ECF-A223-11B804A980A2}" sibTransId="{5A783DA7-D104-47AF-807C-6D9B871BAD35}"/>
    <dgm:cxn modelId="{84CF0A60-A1B1-489E-BABE-4FA65523730F}" type="presOf" srcId="{0FA63C86-0453-4454-B1FB-4F05BC4012D2}" destId="{BD4A7DD0-585F-48B2-B155-33A3A045A447}" srcOrd="1" destOrd="0" presId="urn:microsoft.com/office/officeart/2005/8/layout/list1"/>
    <dgm:cxn modelId="{17A0CB42-E37D-472C-AB1D-525DA6C4B12E}" srcId="{C0E2B28B-5FA4-4E95-94AC-CCCFF8EBDAE8}" destId="{0FA63C86-0453-4454-B1FB-4F05BC4012D2}" srcOrd="1" destOrd="0" parTransId="{230EE446-31B4-4B66-AE81-CA374827CF2C}" sibTransId="{EE0E7BCF-B420-42D4-800C-E10A0DF70916}"/>
    <dgm:cxn modelId="{0A294B64-480D-40A0-9BCC-006D93215A63}" srcId="{C0BA1FF9-0D7E-4271-B991-DF2D4EC4CBCE}" destId="{D0AC594F-06EA-49E5-A70E-9AC021680447}" srcOrd="0" destOrd="0" parTransId="{5A329671-72D8-48DF-9204-2F62383BF81F}" sibTransId="{2A0B7FB4-CC4C-486E-969F-F0BBF814B9C4}"/>
    <dgm:cxn modelId="{B42AE06A-E819-4C5E-924C-E680CB8AEB42}" type="presOf" srcId="{4BFEC4AB-AE0E-4754-9B2E-437F98F23BEB}" destId="{FE746151-E4C6-4D03-B247-6CA33302F1E0}" srcOrd="0" destOrd="0" presId="urn:microsoft.com/office/officeart/2005/8/layout/list1"/>
    <dgm:cxn modelId="{8C08AD4E-2A62-46FA-AC1F-1F459754FCC4}" srcId="{B3D8F5AA-5909-416E-B80C-B2DB6EE9F0EE}" destId="{F0537FC7-35BB-48E3-B994-0993861AEED3}" srcOrd="0" destOrd="0" parTransId="{A30DEBB8-7002-4CCF-A9AD-EAE7FC61AE03}" sibTransId="{E658941B-5F61-42CF-B0DE-EE0CD384FE42}"/>
    <dgm:cxn modelId="{70503256-B08E-4AB5-8043-C40D2122D4B7}" type="presOf" srcId="{AA617A21-657D-4882-8A4D-06A143BE09CC}" destId="{D0F3E990-DD01-435B-BBDE-54CFC99E4C0F}" srcOrd="1" destOrd="0" presId="urn:microsoft.com/office/officeart/2005/8/layout/list1"/>
    <dgm:cxn modelId="{6A2A8858-C247-482E-AF17-CDE7B7FD47E0}" type="presOf" srcId="{0FA63C86-0453-4454-B1FB-4F05BC4012D2}" destId="{39E17907-AB83-4967-AF38-F163013656B2}" srcOrd="0" destOrd="0" presId="urn:microsoft.com/office/officeart/2005/8/layout/list1"/>
    <dgm:cxn modelId="{E5902E79-E1C6-4BF6-A1F6-6F374AE275A8}" srcId="{0FA63C86-0453-4454-B1FB-4F05BC4012D2}" destId="{49FC6893-ECA1-477A-A3EF-52B75FD7AB74}" srcOrd="0" destOrd="0" parTransId="{EEF60C01-7969-4B8A-81D9-20A5DCC6E341}" sibTransId="{73FEC3C6-4106-44E3-9BD2-81B00B24A446}"/>
    <dgm:cxn modelId="{640A327D-4B16-46BF-8B43-8BFAE759EB27}" type="presOf" srcId="{AA617A21-657D-4882-8A4D-06A143BE09CC}" destId="{56425D13-3C1C-43EB-8A0E-356175D022CC}" srcOrd="0" destOrd="0" presId="urn:microsoft.com/office/officeart/2005/8/layout/list1"/>
    <dgm:cxn modelId="{11EB1B8B-20D3-4BA3-9909-9544E902F5D1}" type="presOf" srcId="{B3D8F5AA-5909-416E-B80C-B2DB6EE9F0EE}" destId="{CB2D5C2E-9111-4F64-B3B3-D2947851ABE8}" srcOrd="1" destOrd="0" presId="urn:microsoft.com/office/officeart/2005/8/layout/list1"/>
    <dgm:cxn modelId="{C4A8F790-0CDD-4EC0-8194-A879151CF6F8}" type="presOf" srcId="{4A55BAF6-12A2-40DF-9291-8FC36BFC7FC0}" destId="{5E45C573-496B-4C15-816F-29464BC3E049}" srcOrd="0" destOrd="0" presId="urn:microsoft.com/office/officeart/2005/8/layout/list1"/>
    <dgm:cxn modelId="{320C6F9B-6AC8-425E-BD0D-8E20741BFCB1}" srcId="{446BDAEE-1D4D-4F76-B63A-C0198C1849BC}" destId="{50E72758-FEAC-477C-BB18-E65F1941A6BB}" srcOrd="0" destOrd="0" parTransId="{EC1E14FC-6A6A-4135-81FF-128D50B5E0B4}" sibTransId="{F516B447-8F68-4579-A48A-9A795AD57F14}"/>
    <dgm:cxn modelId="{DF6F0F9C-A618-4EC6-AD99-EAA5138EA160}" type="presOf" srcId="{C0E2B28B-5FA4-4E95-94AC-CCCFF8EBDAE8}" destId="{FEFF6E4F-2E68-4105-A67D-CC88951592BA}" srcOrd="0" destOrd="0" presId="urn:microsoft.com/office/officeart/2005/8/layout/list1"/>
    <dgm:cxn modelId="{12464E9F-B6D2-48E8-A1DE-57F00C154357}" type="presOf" srcId="{49FC6893-ECA1-477A-A3EF-52B75FD7AB74}" destId="{5E16760C-9002-4AD2-8FC9-6D0314027DF0}" srcOrd="0" destOrd="0" presId="urn:microsoft.com/office/officeart/2005/8/layout/list1"/>
    <dgm:cxn modelId="{CDCBB5A4-ECF1-4435-9CBA-66C73BCBF3D4}" type="presOf" srcId="{1CC92BCD-2F96-4A99-9FB9-DF1BDF7990F4}" destId="{757E6648-3C3F-4DE9-8FF6-D0A6B59CE938}" srcOrd="0" destOrd="0" presId="urn:microsoft.com/office/officeart/2005/8/layout/list1"/>
    <dgm:cxn modelId="{9BBCA2AA-686D-43F1-AC8D-23A207F13AF9}" srcId="{C0E2B28B-5FA4-4E95-94AC-CCCFF8EBDAE8}" destId="{B3D8F5AA-5909-416E-B80C-B2DB6EE9F0EE}" srcOrd="5" destOrd="0" parTransId="{2871003D-4010-4EB8-9AD5-09DFB680D435}" sibTransId="{E5C459AE-AC1F-4D32-ADDF-EE7AEC62A658}"/>
    <dgm:cxn modelId="{1508DCAA-ABE1-4E57-81D5-1744E21B4E92}" type="presOf" srcId="{D0AC594F-06EA-49E5-A70E-9AC021680447}" destId="{9B4E49C2-FA40-4DF7-9786-A7414D4E58D9}" srcOrd="0" destOrd="0" presId="urn:microsoft.com/office/officeart/2005/8/layout/list1"/>
    <dgm:cxn modelId="{11289AAF-A516-4E96-BE77-B46F73EA4CB3}" type="presOf" srcId="{B3D8F5AA-5909-416E-B80C-B2DB6EE9F0EE}" destId="{8D6BA81C-3570-4251-AD9B-6701A11081C0}" srcOrd="0" destOrd="0" presId="urn:microsoft.com/office/officeart/2005/8/layout/list1"/>
    <dgm:cxn modelId="{82BC9DB4-A5E8-4A87-8A42-599F9DA1C8B3}" type="presOf" srcId="{C0BA1FF9-0D7E-4271-B991-DF2D4EC4CBCE}" destId="{7DDE20FE-A4AE-4439-B9D7-BA3C88A9CB50}" srcOrd="0" destOrd="0" presId="urn:microsoft.com/office/officeart/2005/8/layout/list1"/>
    <dgm:cxn modelId="{7CEB0FC7-A0CC-44DF-8FCC-043C17597E1A}" srcId="{AA617A21-657D-4882-8A4D-06A143BE09CC}" destId="{4BFEC4AB-AE0E-4754-9B2E-437F98F23BEB}" srcOrd="0" destOrd="0" parTransId="{025F8207-DACB-4C0F-B9D4-B95C3A6CE7F5}" sibTransId="{79518B65-EAEB-4039-A91A-806D581E796A}"/>
    <dgm:cxn modelId="{A773F1CD-26E0-4A52-9702-09D2FA17D369}" type="presOf" srcId="{C0BA1FF9-0D7E-4271-B991-DF2D4EC4CBCE}" destId="{830A9914-5803-4AB2-89A0-EDE778BFB296}" srcOrd="1" destOrd="0" presId="urn:microsoft.com/office/officeart/2005/8/layout/list1"/>
    <dgm:cxn modelId="{EF2FE3D1-F976-4C96-90BC-D43943D3D052}" srcId="{C0E2B28B-5FA4-4E95-94AC-CCCFF8EBDAE8}" destId="{AA617A21-657D-4882-8A4D-06A143BE09CC}" srcOrd="4" destOrd="0" parTransId="{380DC13F-CA28-46B4-9A50-9714CDBE7124}" sibTransId="{2C9208CD-04A5-4C39-A193-D09A1B942001}"/>
    <dgm:cxn modelId="{54AABFD5-0C9B-4A4D-8FFB-1E1AEAEA873F}" type="presOf" srcId="{F0537FC7-35BB-48E3-B994-0993861AEED3}" destId="{AD020C22-78DC-4B4A-B032-EE7B86C442EA}" srcOrd="0" destOrd="0" presId="urn:microsoft.com/office/officeart/2005/8/layout/list1"/>
    <dgm:cxn modelId="{7469D7D8-E2C2-4E6D-9511-7EF87B4B17AB}" type="presOf" srcId="{1CC92BCD-2F96-4A99-9FB9-DF1BDF7990F4}" destId="{E97AD577-6A79-467E-96FE-3FF7B2C665EB}" srcOrd="1" destOrd="0" presId="urn:microsoft.com/office/officeart/2005/8/layout/list1"/>
    <dgm:cxn modelId="{EB580CDA-21CE-43DF-A1DC-99341CB945F5}" srcId="{C0E2B28B-5FA4-4E95-94AC-CCCFF8EBDAE8}" destId="{4A55BAF6-12A2-40DF-9291-8FC36BFC7FC0}" srcOrd="0" destOrd="0" parTransId="{094ADB54-5EC0-49E8-862A-EF1A67820848}" sibTransId="{878E099C-6DDA-424A-8F28-D9C8009FAA2A}"/>
    <dgm:cxn modelId="{259B49E5-75EC-4A01-BB42-5901FB6699CB}" type="presOf" srcId="{446BDAEE-1D4D-4F76-B63A-C0198C1849BC}" destId="{C2C99336-4FB6-4FE9-B32B-C9028597EFD5}" srcOrd="0" destOrd="0" presId="urn:microsoft.com/office/officeart/2005/8/layout/list1"/>
    <dgm:cxn modelId="{472BD8E5-40E4-478B-A60F-A813A11D2741}" srcId="{1CC92BCD-2F96-4A99-9FB9-DF1BDF7990F4}" destId="{6D38FFA0-4455-4C54-8540-EAD3679F9B85}" srcOrd="0" destOrd="0" parTransId="{ED9FA2BD-43B7-4556-AD5E-221D30856CEA}" sibTransId="{6316861B-AB83-4469-9A3D-25E789C8BB22}"/>
    <dgm:cxn modelId="{448961E9-ED6A-4995-A604-98437A5A9380}" type="presOf" srcId="{4A55BAF6-12A2-40DF-9291-8FC36BFC7FC0}" destId="{1408A262-8D5E-4823-A211-C85ECF293771}" srcOrd="1" destOrd="0" presId="urn:microsoft.com/office/officeart/2005/8/layout/list1"/>
    <dgm:cxn modelId="{018AB9F2-D9A4-4E9B-B0D6-55B12E32A571}" type="presOf" srcId="{6D38FFA0-4455-4C54-8540-EAD3679F9B85}" destId="{E20CFEF9-BE59-4999-90B9-136A365A3026}" srcOrd="0" destOrd="0" presId="urn:microsoft.com/office/officeart/2005/8/layout/list1"/>
    <dgm:cxn modelId="{531EA7E3-9FFE-4780-B025-62FF60257675}" type="presParOf" srcId="{FEFF6E4F-2E68-4105-A67D-CC88951592BA}" destId="{21FEEBFB-76B9-483F-B5F3-CA1A6F4C8A68}" srcOrd="0" destOrd="0" presId="urn:microsoft.com/office/officeart/2005/8/layout/list1"/>
    <dgm:cxn modelId="{724F8E46-FAA5-46D6-9B81-1E22F8D038A8}" type="presParOf" srcId="{21FEEBFB-76B9-483F-B5F3-CA1A6F4C8A68}" destId="{5E45C573-496B-4C15-816F-29464BC3E049}" srcOrd="0" destOrd="0" presId="urn:microsoft.com/office/officeart/2005/8/layout/list1"/>
    <dgm:cxn modelId="{5AF863ED-0F72-4AE8-952A-0A682F8BD4AF}" type="presParOf" srcId="{21FEEBFB-76B9-483F-B5F3-CA1A6F4C8A68}" destId="{1408A262-8D5E-4823-A211-C85ECF293771}" srcOrd="1" destOrd="0" presId="urn:microsoft.com/office/officeart/2005/8/layout/list1"/>
    <dgm:cxn modelId="{A1224CA5-F625-4EDB-B2DC-D1D685F9D116}" type="presParOf" srcId="{FEFF6E4F-2E68-4105-A67D-CC88951592BA}" destId="{D0FF1190-EF34-4CE0-A251-60ECA4464CC0}" srcOrd="1" destOrd="0" presId="urn:microsoft.com/office/officeart/2005/8/layout/list1"/>
    <dgm:cxn modelId="{F9634913-C3BA-4B66-A230-C59B95946D54}" type="presParOf" srcId="{FEFF6E4F-2E68-4105-A67D-CC88951592BA}" destId="{EBAE7FE3-2773-4EE6-A957-B078324A11FE}" srcOrd="2" destOrd="0" presId="urn:microsoft.com/office/officeart/2005/8/layout/list1"/>
    <dgm:cxn modelId="{59374B5C-BE9D-46ED-8B54-52BBA91E01BB}" type="presParOf" srcId="{FEFF6E4F-2E68-4105-A67D-CC88951592BA}" destId="{E00BA3E3-8952-4BCC-8DF8-D90B163C7C46}" srcOrd="3" destOrd="0" presId="urn:microsoft.com/office/officeart/2005/8/layout/list1"/>
    <dgm:cxn modelId="{85A45049-AA40-4685-9827-5D8D5DAEF8C8}" type="presParOf" srcId="{FEFF6E4F-2E68-4105-A67D-CC88951592BA}" destId="{40277D8E-DA73-48E4-B663-01754019427B}" srcOrd="4" destOrd="0" presId="urn:microsoft.com/office/officeart/2005/8/layout/list1"/>
    <dgm:cxn modelId="{695CF9E6-007F-4CE1-8FD6-1D95F87FB7CE}" type="presParOf" srcId="{40277D8E-DA73-48E4-B663-01754019427B}" destId="{39E17907-AB83-4967-AF38-F163013656B2}" srcOrd="0" destOrd="0" presId="urn:microsoft.com/office/officeart/2005/8/layout/list1"/>
    <dgm:cxn modelId="{D088F602-5243-4EB6-950B-32526EC17095}" type="presParOf" srcId="{40277D8E-DA73-48E4-B663-01754019427B}" destId="{BD4A7DD0-585F-48B2-B155-33A3A045A447}" srcOrd="1" destOrd="0" presId="urn:microsoft.com/office/officeart/2005/8/layout/list1"/>
    <dgm:cxn modelId="{69B6EB58-E596-4BAA-ADCE-BE8BFB9E9815}" type="presParOf" srcId="{FEFF6E4F-2E68-4105-A67D-CC88951592BA}" destId="{252FDC87-F226-44BB-8B66-235FFCE28F29}" srcOrd="5" destOrd="0" presId="urn:microsoft.com/office/officeart/2005/8/layout/list1"/>
    <dgm:cxn modelId="{3C638EFF-AB6F-4932-A492-5D177D223662}" type="presParOf" srcId="{FEFF6E4F-2E68-4105-A67D-CC88951592BA}" destId="{5E16760C-9002-4AD2-8FC9-6D0314027DF0}" srcOrd="6" destOrd="0" presId="urn:microsoft.com/office/officeart/2005/8/layout/list1"/>
    <dgm:cxn modelId="{3FFAA748-809F-4289-92D3-35AEC276B4B3}" type="presParOf" srcId="{FEFF6E4F-2E68-4105-A67D-CC88951592BA}" destId="{0AA7D66E-BF21-400B-899B-5892C5EE4654}" srcOrd="7" destOrd="0" presId="urn:microsoft.com/office/officeart/2005/8/layout/list1"/>
    <dgm:cxn modelId="{49481A81-A20B-4A18-8522-7AE381B167F5}" type="presParOf" srcId="{FEFF6E4F-2E68-4105-A67D-CC88951592BA}" destId="{44BD0DB1-559E-4D11-AF5C-0DB95FB1D29F}" srcOrd="8" destOrd="0" presId="urn:microsoft.com/office/officeart/2005/8/layout/list1"/>
    <dgm:cxn modelId="{F6D5253D-48D2-4EB1-8ACB-BB5D27A7EAD5}" type="presParOf" srcId="{44BD0DB1-559E-4D11-AF5C-0DB95FB1D29F}" destId="{7DDE20FE-A4AE-4439-B9D7-BA3C88A9CB50}" srcOrd="0" destOrd="0" presId="urn:microsoft.com/office/officeart/2005/8/layout/list1"/>
    <dgm:cxn modelId="{384FE4DB-A4C8-44D2-80AF-EC71541A1CC9}" type="presParOf" srcId="{44BD0DB1-559E-4D11-AF5C-0DB95FB1D29F}" destId="{830A9914-5803-4AB2-89A0-EDE778BFB296}" srcOrd="1" destOrd="0" presId="urn:microsoft.com/office/officeart/2005/8/layout/list1"/>
    <dgm:cxn modelId="{71DD19D9-2F6D-4065-860F-6B9DDAC3C55B}" type="presParOf" srcId="{FEFF6E4F-2E68-4105-A67D-CC88951592BA}" destId="{DF7E62EC-31E0-4D05-BF29-8CFC9B2F0F7B}" srcOrd="9" destOrd="0" presId="urn:microsoft.com/office/officeart/2005/8/layout/list1"/>
    <dgm:cxn modelId="{D19EA074-ADCE-46A0-A415-6DAEF135D7B2}" type="presParOf" srcId="{FEFF6E4F-2E68-4105-A67D-CC88951592BA}" destId="{9B4E49C2-FA40-4DF7-9786-A7414D4E58D9}" srcOrd="10" destOrd="0" presId="urn:microsoft.com/office/officeart/2005/8/layout/list1"/>
    <dgm:cxn modelId="{687F0021-2BC6-42E7-AB2F-89EA76E47F00}" type="presParOf" srcId="{FEFF6E4F-2E68-4105-A67D-CC88951592BA}" destId="{7FA86686-F340-4F47-9B25-5DD53C1499E6}" srcOrd="11" destOrd="0" presId="urn:microsoft.com/office/officeart/2005/8/layout/list1"/>
    <dgm:cxn modelId="{8B9BA35F-592F-414F-A852-DCC8777F342D}" type="presParOf" srcId="{FEFF6E4F-2E68-4105-A67D-CC88951592BA}" destId="{2317E05B-4AC8-4CBA-84D9-165024DF54B3}" srcOrd="12" destOrd="0" presId="urn:microsoft.com/office/officeart/2005/8/layout/list1"/>
    <dgm:cxn modelId="{9B432FAD-8C2A-4463-9DF4-66D26AF3B822}" type="presParOf" srcId="{2317E05B-4AC8-4CBA-84D9-165024DF54B3}" destId="{757E6648-3C3F-4DE9-8FF6-D0A6B59CE938}" srcOrd="0" destOrd="0" presId="urn:microsoft.com/office/officeart/2005/8/layout/list1"/>
    <dgm:cxn modelId="{BA5803C4-93D0-442C-8F9C-12B11CBA119D}" type="presParOf" srcId="{2317E05B-4AC8-4CBA-84D9-165024DF54B3}" destId="{E97AD577-6A79-467E-96FE-3FF7B2C665EB}" srcOrd="1" destOrd="0" presId="urn:microsoft.com/office/officeart/2005/8/layout/list1"/>
    <dgm:cxn modelId="{67F0BF19-6D06-42D4-99D4-6802E8297C05}" type="presParOf" srcId="{FEFF6E4F-2E68-4105-A67D-CC88951592BA}" destId="{A24183C0-4D8C-4EE8-92CE-DDAFD91023C8}" srcOrd="13" destOrd="0" presId="urn:microsoft.com/office/officeart/2005/8/layout/list1"/>
    <dgm:cxn modelId="{11F34EA8-D3A6-4253-8416-CBD2B1B946D5}" type="presParOf" srcId="{FEFF6E4F-2E68-4105-A67D-CC88951592BA}" destId="{E20CFEF9-BE59-4999-90B9-136A365A3026}" srcOrd="14" destOrd="0" presId="urn:microsoft.com/office/officeart/2005/8/layout/list1"/>
    <dgm:cxn modelId="{444F994D-B6FC-4132-B4F7-0FE503DCE5F9}" type="presParOf" srcId="{FEFF6E4F-2E68-4105-A67D-CC88951592BA}" destId="{3D8CC19A-63FE-450C-A614-E46C42685BCC}" srcOrd="15" destOrd="0" presId="urn:microsoft.com/office/officeart/2005/8/layout/list1"/>
    <dgm:cxn modelId="{F74658F9-1DAA-4221-B851-A8ABBC07542E}" type="presParOf" srcId="{FEFF6E4F-2E68-4105-A67D-CC88951592BA}" destId="{E4006C1E-5F3E-40C6-83B3-44A3EA61BC19}" srcOrd="16" destOrd="0" presId="urn:microsoft.com/office/officeart/2005/8/layout/list1"/>
    <dgm:cxn modelId="{01A8020B-270E-4920-9267-9F75FE5A2AB1}" type="presParOf" srcId="{E4006C1E-5F3E-40C6-83B3-44A3EA61BC19}" destId="{56425D13-3C1C-43EB-8A0E-356175D022CC}" srcOrd="0" destOrd="0" presId="urn:microsoft.com/office/officeart/2005/8/layout/list1"/>
    <dgm:cxn modelId="{95D22381-BE9C-4E83-9205-76A26EF01653}" type="presParOf" srcId="{E4006C1E-5F3E-40C6-83B3-44A3EA61BC19}" destId="{D0F3E990-DD01-435B-BBDE-54CFC99E4C0F}" srcOrd="1" destOrd="0" presId="urn:microsoft.com/office/officeart/2005/8/layout/list1"/>
    <dgm:cxn modelId="{807DD1F7-BBE4-40BE-AF21-BD86498179C4}" type="presParOf" srcId="{FEFF6E4F-2E68-4105-A67D-CC88951592BA}" destId="{368C4531-F445-4205-8654-090335CE5A00}" srcOrd="17" destOrd="0" presId="urn:microsoft.com/office/officeart/2005/8/layout/list1"/>
    <dgm:cxn modelId="{936380FF-3E4E-46FF-A294-A10050CD340C}" type="presParOf" srcId="{FEFF6E4F-2E68-4105-A67D-CC88951592BA}" destId="{FE746151-E4C6-4D03-B247-6CA33302F1E0}" srcOrd="18" destOrd="0" presId="urn:microsoft.com/office/officeart/2005/8/layout/list1"/>
    <dgm:cxn modelId="{2684E7EA-870B-4E8B-8171-4EA508020A2F}" type="presParOf" srcId="{FEFF6E4F-2E68-4105-A67D-CC88951592BA}" destId="{566EA879-FE7A-4AC2-BE70-F14238D3B597}" srcOrd="19" destOrd="0" presId="urn:microsoft.com/office/officeart/2005/8/layout/list1"/>
    <dgm:cxn modelId="{90F7CE38-D4ED-45B0-98BB-E041DF5FBDEE}" type="presParOf" srcId="{FEFF6E4F-2E68-4105-A67D-CC88951592BA}" destId="{DBB3288C-21BD-49D0-8B64-213C98F56ED1}" srcOrd="20" destOrd="0" presId="urn:microsoft.com/office/officeart/2005/8/layout/list1"/>
    <dgm:cxn modelId="{85447EFC-FCFB-45FB-825B-ED41206DA218}" type="presParOf" srcId="{DBB3288C-21BD-49D0-8B64-213C98F56ED1}" destId="{8D6BA81C-3570-4251-AD9B-6701A11081C0}" srcOrd="0" destOrd="0" presId="urn:microsoft.com/office/officeart/2005/8/layout/list1"/>
    <dgm:cxn modelId="{96AB9D73-7769-4D1C-A782-893EDA717506}" type="presParOf" srcId="{DBB3288C-21BD-49D0-8B64-213C98F56ED1}" destId="{CB2D5C2E-9111-4F64-B3B3-D2947851ABE8}" srcOrd="1" destOrd="0" presId="urn:microsoft.com/office/officeart/2005/8/layout/list1"/>
    <dgm:cxn modelId="{D8294A4D-A208-43C7-A7B4-FDEFE6D763A2}" type="presParOf" srcId="{FEFF6E4F-2E68-4105-A67D-CC88951592BA}" destId="{A9BE2EB4-43F9-4A50-9EDE-8B84585DBBA1}" srcOrd="21" destOrd="0" presId="urn:microsoft.com/office/officeart/2005/8/layout/list1"/>
    <dgm:cxn modelId="{3D6EA6BE-F86D-4549-BE27-0E62EAD41D6D}" type="presParOf" srcId="{FEFF6E4F-2E68-4105-A67D-CC88951592BA}" destId="{AD020C22-78DC-4B4A-B032-EE7B86C442EA}" srcOrd="22" destOrd="0" presId="urn:microsoft.com/office/officeart/2005/8/layout/list1"/>
    <dgm:cxn modelId="{5218CC32-0FF7-4CC7-A41B-1DFD78FB080B}" type="presParOf" srcId="{FEFF6E4F-2E68-4105-A67D-CC88951592BA}" destId="{CBEDCA40-4591-4E6B-88F8-3EBF11D1DA4E}" srcOrd="23" destOrd="0" presId="urn:microsoft.com/office/officeart/2005/8/layout/list1"/>
    <dgm:cxn modelId="{99826671-330B-4590-8317-439963407AB2}" type="presParOf" srcId="{FEFF6E4F-2E68-4105-A67D-CC88951592BA}" destId="{EE07F02D-FC8C-4986-86D4-D43C9CB46094}" srcOrd="24" destOrd="0" presId="urn:microsoft.com/office/officeart/2005/8/layout/list1"/>
    <dgm:cxn modelId="{9940CAEE-ECAD-415B-99B7-CBCD35A5A546}" type="presParOf" srcId="{EE07F02D-FC8C-4986-86D4-D43C9CB46094}" destId="{C2C99336-4FB6-4FE9-B32B-C9028597EFD5}" srcOrd="0" destOrd="0" presId="urn:microsoft.com/office/officeart/2005/8/layout/list1"/>
    <dgm:cxn modelId="{C0FFF69A-EE57-4F5A-B7B5-2E387FA20FA6}" type="presParOf" srcId="{EE07F02D-FC8C-4986-86D4-D43C9CB46094}" destId="{2567782E-09DC-425A-A630-CD6CBBBDE2C9}" srcOrd="1" destOrd="0" presId="urn:microsoft.com/office/officeart/2005/8/layout/list1"/>
    <dgm:cxn modelId="{BDB60D14-99D7-4FFC-BEEF-652417D26DF0}" type="presParOf" srcId="{FEFF6E4F-2E68-4105-A67D-CC88951592BA}" destId="{D9EF8C46-6550-4694-A7F7-F74E60B9BBA1}" srcOrd="25" destOrd="0" presId="urn:microsoft.com/office/officeart/2005/8/layout/list1"/>
    <dgm:cxn modelId="{8966E517-09A2-4C57-80D6-F97B73C2A4DC}" type="presParOf" srcId="{FEFF6E4F-2E68-4105-A67D-CC88951592BA}" destId="{A4E38EA3-CC80-4705-956E-4819A18AE7DF}" srcOrd="2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F33ADC-2F82-428D-A296-684BD3722D9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4FADC80-8873-4BFB-A509-1F6122FD7C04}">
      <dgm:prSet phldrT="[Text]" phldr="0"/>
      <dgm:spPr/>
      <dgm:t>
        <a:bodyPr/>
        <a:lstStyle/>
        <a:p>
          <a:pPr rtl="0"/>
          <a:r>
            <a:rPr lang="en-US">
              <a:latin typeface="Calibri Light" panose="020F0302020204030204"/>
            </a:rPr>
            <a:t>In the Transport sector</a:t>
          </a:r>
          <a:endParaRPr lang="en-US"/>
        </a:p>
      </dgm:t>
    </dgm:pt>
    <dgm:pt modelId="{A8655672-8E12-4160-B7B9-BDCB7DC53E27}" type="parTrans" cxnId="{A6552F8D-091A-4552-9B7D-F68E58335483}">
      <dgm:prSet/>
      <dgm:spPr/>
      <dgm:t>
        <a:bodyPr/>
        <a:lstStyle/>
        <a:p>
          <a:endParaRPr lang="en-US"/>
        </a:p>
      </dgm:t>
    </dgm:pt>
    <dgm:pt modelId="{B8FCAF0B-347A-424E-88B1-D9DD3E5C3B59}" type="sibTrans" cxnId="{A6552F8D-091A-4552-9B7D-F68E58335483}">
      <dgm:prSet/>
      <dgm:spPr/>
      <dgm:t>
        <a:bodyPr/>
        <a:lstStyle/>
        <a:p>
          <a:endParaRPr lang="en-US"/>
        </a:p>
      </dgm:t>
    </dgm:pt>
    <dgm:pt modelId="{6C78C2EA-194E-4DE4-8371-56B08D2C664D}">
      <dgm:prSet phldrT="[Text]" phldr="0"/>
      <dgm:spPr/>
      <dgm:t>
        <a:bodyPr/>
        <a:lstStyle/>
        <a:p>
          <a:pPr rtl="0"/>
          <a:r>
            <a:rPr lang="en-US">
              <a:latin typeface="Calibri Light" panose="020F0302020204030204"/>
            </a:rPr>
            <a:t>In the EU Railway sector</a:t>
          </a:r>
          <a:endParaRPr lang="en-US"/>
        </a:p>
      </dgm:t>
    </dgm:pt>
    <dgm:pt modelId="{8FABE2BA-5120-492B-976A-258FAFCEA9D3}" type="parTrans" cxnId="{2C914800-3EA5-4192-AD6A-AB22C2D4EA94}">
      <dgm:prSet/>
      <dgm:spPr/>
      <dgm:t>
        <a:bodyPr/>
        <a:lstStyle/>
        <a:p>
          <a:endParaRPr lang="en-US"/>
        </a:p>
      </dgm:t>
    </dgm:pt>
    <dgm:pt modelId="{1ADCD3E7-393A-4003-95D4-D478DE0EA0E4}" type="sibTrans" cxnId="{2C914800-3EA5-4192-AD6A-AB22C2D4EA94}">
      <dgm:prSet/>
      <dgm:spPr/>
      <dgm:t>
        <a:bodyPr/>
        <a:lstStyle/>
        <a:p>
          <a:endParaRPr lang="en-US"/>
        </a:p>
      </dgm:t>
    </dgm:pt>
    <dgm:pt modelId="{05635674-30DE-4607-AB11-8A82B6CFBB11}">
      <dgm:prSet phldr="0"/>
      <dgm:spPr/>
      <dgm:t>
        <a:bodyPr/>
        <a:lstStyle/>
        <a:p>
          <a:pPr rtl="0"/>
          <a:r>
            <a:rPr lang="en-US">
              <a:solidFill>
                <a:srgbClr val="595959"/>
              </a:solidFill>
              <a:latin typeface="Calibri"/>
              <a:cs typeface="Calibri"/>
            </a:rPr>
            <a:t>The transport sector is a gendered workspace. The sector is dominated by masculine values and practices making it difficult for women to enter these fields.</a:t>
          </a:r>
          <a:endParaRPr lang="en-US">
            <a:latin typeface="Calibri Light" panose="020F0302020204030204"/>
          </a:endParaRPr>
        </a:p>
      </dgm:t>
    </dgm:pt>
    <dgm:pt modelId="{44E142F2-BC35-462B-88B5-C3698F7BC2B8}" type="parTrans" cxnId="{3854FB3B-4105-40B9-8BD9-B3C60732EBC2}">
      <dgm:prSet/>
      <dgm:spPr/>
      <dgm:t>
        <a:bodyPr/>
        <a:lstStyle/>
        <a:p>
          <a:endParaRPr lang="en-US"/>
        </a:p>
      </dgm:t>
    </dgm:pt>
    <dgm:pt modelId="{C8F30C44-13B3-40BB-95AD-F0B145585F91}" type="sibTrans" cxnId="{3854FB3B-4105-40B9-8BD9-B3C60732EBC2}">
      <dgm:prSet/>
      <dgm:spPr/>
      <dgm:t>
        <a:bodyPr/>
        <a:lstStyle/>
        <a:p>
          <a:endParaRPr lang="en-US"/>
        </a:p>
      </dgm:t>
    </dgm:pt>
    <dgm:pt modelId="{DB87952A-F5F8-43E7-BFC4-EE654A0DB434}">
      <dgm:prSet phldr="0"/>
      <dgm:spPr/>
      <dgm:t>
        <a:bodyPr/>
        <a:lstStyle/>
        <a:p>
          <a:pPr rtl="0"/>
          <a:r>
            <a:rPr lang="en-US">
              <a:solidFill>
                <a:srgbClr val="595959"/>
              </a:solidFill>
              <a:latin typeface="Calibri"/>
              <a:cs typeface="Calibri"/>
            </a:rPr>
            <a:t>Women represent only a little more than </a:t>
          </a:r>
          <a:r>
            <a:rPr lang="en-US" b="1">
              <a:solidFill>
                <a:srgbClr val="595959"/>
              </a:solidFill>
              <a:latin typeface="Calibri"/>
              <a:cs typeface="Calibri"/>
            </a:rPr>
            <a:t>21%</a:t>
          </a:r>
          <a:r>
            <a:rPr lang="en-US">
              <a:solidFill>
                <a:srgbClr val="595959"/>
              </a:solidFill>
              <a:latin typeface="Calibri"/>
              <a:cs typeface="Calibri"/>
            </a:rPr>
            <a:t> of railway companies’ workforce</a:t>
          </a:r>
          <a:endParaRPr lang="en-US">
            <a:latin typeface="Calibri Light" panose="020F0302020204030204"/>
          </a:endParaRPr>
        </a:p>
      </dgm:t>
    </dgm:pt>
    <dgm:pt modelId="{33DF5554-0D9D-487A-B3A4-1878A59AC50B}" type="parTrans" cxnId="{B8CAE152-7163-4C25-ACB7-D256433E1D70}">
      <dgm:prSet/>
      <dgm:spPr/>
      <dgm:t>
        <a:bodyPr/>
        <a:lstStyle/>
        <a:p>
          <a:endParaRPr lang="en-US"/>
        </a:p>
      </dgm:t>
    </dgm:pt>
    <dgm:pt modelId="{C356B667-7354-45A7-99FF-2D1B86369ADF}" type="sibTrans" cxnId="{B8CAE152-7163-4C25-ACB7-D256433E1D70}">
      <dgm:prSet/>
      <dgm:spPr/>
      <dgm:t>
        <a:bodyPr/>
        <a:lstStyle/>
        <a:p>
          <a:endParaRPr lang="en-US"/>
        </a:p>
      </dgm:t>
    </dgm:pt>
    <dgm:pt modelId="{B47DB230-7AE7-49B7-BA3B-9D2CA1AB943E}">
      <dgm:prSet phldr="0"/>
      <dgm:spPr/>
      <dgm:t>
        <a:bodyPr/>
        <a:lstStyle/>
        <a:p>
          <a:pPr rtl="0"/>
          <a:r>
            <a:rPr lang="en-US">
              <a:solidFill>
                <a:srgbClr val="595959"/>
              </a:solidFill>
              <a:latin typeface="Calibri"/>
              <a:cs typeface="Calibri"/>
            </a:rPr>
            <a:t>Although women and girls represent </a:t>
          </a:r>
          <a:r>
            <a:rPr lang="en-US" b="1">
              <a:solidFill>
                <a:srgbClr val="595959"/>
              </a:solidFill>
              <a:latin typeface="Calibri"/>
              <a:cs typeface="Calibri"/>
            </a:rPr>
            <a:t>50%</a:t>
          </a:r>
          <a:r>
            <a:rPr lang="en-US">
              <a:solidFill>
                <a:srgbClr val="595959"/>
              </a:solidFill>
              <a:latin typeface="Calibri"/>
              <a:cs typeface="Calibri"/>
            </a:rPr>
            <a:t> of the passenger rail ridership</a:t>
          </a:r>
          <a:endParaRPr lang="en-US">
            <a:solidFill>
              <a:srgbClr val="595959"/>
            </a:solidFill>
            <a:latin typeface="Calibri Light" panose="020F0302020204030204"/>
          </a:endParaRPr>
        </a:p>
      </dgm:t>
    </dgm:pt>
    <dgm:pt modelId="{16A8FB9C-5391-41FC-9E8F-17A1A0576283}" type="parTrans" cxnId="{E4326E45-4F54-4573-9DB8-397AE5FDC37A}">
      <dgm:prSet/>
      <dgm:spPr/>
      <dgm:t>
        <a:bodyPr/>
        <a:lstStyle/>
        <a:p>
          <a:endParaRPr lang="en-US"/>
        </a:p>
      </dgm:t>
    </dgm:pt>
    <dgm:pt modelId="{170E0DBC-59A9-4D5C-A261-8B3C59FF6D8E}" type="sibTrans" cxnId="{E4326E45-4F54-4573-9DB8-397AE5FDC37A}">
      <dgm:prSet/>
      <dgm:spPr/>
      <dgm:t>
        <a:bodyPr/>
        <a:lstStyle/>
        <a:p>
          <a:endParaRPr lang="en-US"/>
        </a:p>
      </dgm:t>
    </dgm:pt>
    <dgm:pt modelId="{A8E2EED1-5513-4868-8077-65B015062A67}">
      <dgm:prSet phldr="0"/>
      <dgm:spPr/>
      <dgm:t>
        <a:bodyPr/>
        <a:lstStyle/>
        <a:p>
          <a:pPr rtl="0"/>
          <a:r>
            <a:rPr lang="en-US">
              <a:solidFill>
                <a:srgbClr val="595959"/>
              </a:solidFill>
              <a:latin typeface="Calibri"/>
              <a:cs typeface="Calibri"/>
            </a:rPr>
            <a:t>Considerably below the economy wide participation rate of women in the </a:t>
          </a:r>
          <a:r>
            <a:rPr lang="en-US" err="1">
              <a:solidFill>
                <a:srgbClr val="595959"/>
              </a:solidFill>
              <a:latin typeface="Calibri"/>
              <a:cs typeface="Calibri"/>
            </a:rPr>
            <a:t>labour</a:t>
          </a:r>
          <a:r>
            <a:rPr lang="en-US">
              <a:solidFill>
                <a:srgbClr val="595959"/>
              </a:solidFill>
              <a:latin typeface="Calibri"/>
              <a:cs typeface="Calibri"/>
            </a:rPr>
            <a:t> market (</a:t>
          </a:r>
          <a:r>
            <a:rPr lang="en-US" b="1">
              <a:solidFill>
                <a:srgbClr val="595959"/>
              </a:solidFill>
              <a:latin typeface="Calibri"/>
              <a:cs typeface="Calibri"/>
            </a:rPr>
            <a:t>46%</a:t>
          </a:r>
          <a:r>
            <a:rPr lang="en-US">
              <a:solidFill>
                <a:srgbClr val="595959"/>
              </a:solidFill>
              <a:latin typeface="Calibri"/>
              <a:cs typeface="Calibri"/>
            </a:rPr>
            <a:t>)</a:t>
          </a:r>
          <a:endParaRPr lang="en-US">
            <a:latin typeface="Calibri Light" panose="020F0302020204030204"/>
          </a:endParaRPr>
        </a:p>
      </dgm:t>
    </dgm:pt>
    <dgm:pt modelId="{0C361D20-D155-4A37-B06F-604455B3D012}" type="parTrans" cxnId="{7AE36315-5A68-4B22-A8E3-39BA318C8F2F}">
      <dgm:prSet/>
      <dgm:spPr/>
      <dgm:t>
        <a:bodyPr/>
        <a:lstStyle/>
        <a:p>
          <a:endParaRPr lang="en-US"/>
        </a:p>
      </dgm:t>
    </dgm:pt>
    <dgm:pt modelId="{0658DF42-544D-4494-87BA-D52A22FFFF7E}" type="sibTrans" cxnId="{7AE36315-5A68-4B22-A8E3-39BA318C8F2F}">
      <dgm:prSet/>
      <dgm:spPr/>
      <dgm:t>
        <a:bodyPr/>
        <a:lstStyle/>
        <a:p>
          <a:endParaRPr lang="en-US"/>
        </a:p>
      </dgm:t>
    </dgm:pt>
    <dgm:pt modelId="{F46C92A2-3BD7-4D90-BAB7-BE968F1C3366}">
      <dgm:prSet phldr="0"/>
      <dgm:spPr/>
      <dgm:t>
        <a:bodyPr/>
        <a:lstStyle/>
        <a:p>
          <a:pPr rtl="0"/>
          <a:r>
            <a:rPr lang="en-US">
              <a:solidFill>
                <a:schemeClr val="bg1"/>
              </a:solidFill>
              <a:latin typeface="Calibri"/>
              <a:cs typeface="Calibri"/>
            </a:rPr>
            <a:t>In leadership positions in the EU</a:t>
          </a:r>
          <a:endParaRPr lang="en-US">
            <a:solidFill>
              <a:schemeClr val="bg1"/>
            </a:solidFill>
            <a:latin typeface="Calibri Light" panose="020F0302020204030204"/>
          </a:endParaRPr>
        </a:p>
      </dgm:t>
    </dgm:pt>
    <dgm:pt modelId="{6EF964FA-03A1-45E5-8F73-B0D17E83E9C4}" type="parTrans" cxnId="{11E684DA-BF8F-4ABD-937E-DB0BE55BD45B}">
      <dgm:prSet/>
      <dgm:spPr/>
      <dgm:t>
        <a:bodyPr/>
        <a:lstStyle/>
        <a:p>
          <a:endParaRPr lang="en-US"/>
        </a:p>
      </dgm:t>
    </dgm:pt>
    <dgm:pt modelId="{C0EC5895-787B-443F-A6B1-5836F1681156}" type="sibTrans" cxnId="{11E684DA-BF8F-4ABD-937E-DB0BE55BD45B}">
      <dgm:prSet/>
      <dgm:spPr/>
      <dgm:t>
        <a:bodyPr/>
        <a:lstStyle/>
        <a:p>
          <a:endParaRPr lang="en-US"/>
        </a:p>
      </dgm:t>
    </dgm:pt>
    <dgm:pt modelId="{5F2A9AEE-8754-420A-A175-D15B2BCAB11E}">
      <dgm:prSet phldr="0"/>
      <dgm:spPr/>
      <dgm:t>
        <a:bodyPr/>
        <a:lstStyle/>
        <a:p>
          <a:pPr rtl="0"/>
          <a:r>
            <a:rPr lang="en-US">
              <a:solidFill>
                <a:srgbClr val="595959"/>
              </a:solidFill>
              <a:latin typeface="Calibri"/>
              <a:cs typeface="Calibri"/>
            </a:rPr>
            <a:t>Aim to achieve gender balance in decision-making and politics</a:t>
          </a:r>
          <a:endParaRPr lang="en-US">
            <a:latin typeface="Calibri Light" panose="020F0302020204030204"/>
          </a:endParaRPr>
        </a:p>
      </dgm:t>
    </dgm:pt>
    <dgm:pt modelId="{564DBB91-87DF-42B1-8F52-4BA1B3AB352F}" type="parTrans" cxnId="{4FCF6BED-BB28-4F97-9076-1604E1EE9E36}">
      <dgm:prSet/>
      <dgm:spPr/>
      <dgm:t>
        <a:bodyPr/>
        <a:lstStyle/>
        <a:p>
          <a:endParaRPr lang="en-US"/>
        </a:p>
      </dgm:t>
    </dgm:pt>
    <dgm:pt modelId="{48E33ACF-82F6-4F09-8E7B-0B15E3E959A4}" type="sibTrans" cxnId="{4FCF6BED-BB28-4F97-9076-1604E1EE9E36}">
      <dgm:prSet/>
      <dgm:spPr/>
      <dgm:t>
        <a:bodyPr/>
        <a:lstStyle/>
        <a:p>
          <a:endParaRPr lang="en-US"/>
        </a:p>
      </dgm:t>
    </dgm:pt>
    <dgm:pt modelId="{EED49418-37B3-40C7-815F-BF9DBDAAADED}">
      <dgm:prSet phldr="0"/>
      <dgm:spPr/>
      <dgm:t>
        <a:bodyPr/>
        <a:lstStyle/>
        <a:p>
          <a:pPr rtl="0"/>
          <a:r>
            <a:rPr lang="en-US">
              <a:solidFill>
                <a:srgbClr val="595959"/>
              </a:solidFill>
              <a:latin typeface="Calibri"/>
              <a:cs typeface="Calibri"/>
            </a:rPr>
            <a:t>Low percentage of women in leading positions </a:t>
          </a:r>
          <a:endParaRPr lang="en-US">
            <a:solidFill>
              <a:srgbClr val="595959"/>
            </a:solidFill>
            <a:latin typeface="Calibri Light" panose="020F0302020204030204"/>
          </a:endParaRPr>
        </a:p>
      </dgm:t>
    </dgm:pt>
    <dgm:pt modelId="{5B3AD6E6-E6FF-45F0-9502-9E39C9F2A4E4}" type="parTrans" cxnId="{42BE0434-E417-4DCF-8453-4A078043EEC9}">
      <dgm:prSet/>
      <dgm:spPr/>
      <dgm:t>
        <a:bodyPr/>
        <a:lstStyle/>
        <a:p>
          <a:endParaRPr lang="en-US"/>
        </a:p>
      </dgm:t>
    </dgm:pt>
    <dgm:pt modelId="{0E2DA726-9B83-4371-83DF-E4DA36C05455}" type="sibTrans" cxnId="{42BE0434-E417-4DCF-8453-4A078043EEC9}">
      <dgm:prSet/>
      <dgm:spPr/>
      <dgm:t>
        <a:bodyPr/>
        <a:lstStyle/>
        <a:p>
          <a:endParaRPr lang="en-US"/>
        </a:p>
      </dgm:t>
    </dgm:pt>
    <dgm:pt modelId="{EFAFCDEF-78EE-4CEA-B452-48F63A80CAA5}">
      <dgm:prSet phldr="0"/>
      <dgm:spPr/>
      <dgm:t>
        <a:bodyPr/>
        <a:lstStyle/>
        <a:p>
          <a:pPr rtl="0"/>
          <a:r>
            <a:rPr lang="en-US">
              <a:solidFill>
                <a:srgbClr val="595959"/>
              </a:solidFill>
              <a:latin typeface="Calibri"/>
              <a:cs typeface="Calibri"/>
            </a:rPr>
            <a:t>e.g., only </a:t>
          </a:r>
          <a:r>
            <a:rPr lang="en-US" b="1">
              <a:solidFill>
                <a:srgbClr val="595959"/>
              </a:solidFill>
              <a:latin typeface="Calibri"/>
              <a:cs typeface="Calibri"/>
            </a:rPr>
            <a:t>7.5%</a:t>
          </a:r>
          <a:r>
            <a:rPr lang="en-US">
              <a:solidFill>
                <a:srgbClr val="595959"/>
              </a:solidFill>
              <a:latin typeface="Calibri"/>
              <a:cs typeface="Calibri"/>
            </a:rPr>
            <a:t> of Board Chairs and </a:t>
          </a:r>
          <a:r>
            <a:rPr lang="en-US" b="1">
              <a:solidFill>
                <a:srgbClr val="595959"/>
              </a:solidFill>
              <a:latin typeface="Calibri"/>
              <a:cs typeface="Calibri"/>
            </a:rPr>
            <a:t>7.7%</a:t>
          </a:r>
          <a:r>
            <a:rPr lang="en-US">
              <a:solidFill>
                <a:srgbClr val="595959"/>
              </a:solidFill>
              <a:latin typeface="Calibri"/>
              <a:cs typeface="Calibri"/>
            </a:rPr>
            <a:t> of CEOs in the EU largest listed companies</a:t>
          </a:r>
          <a:endParaRPr lang="en-US">
            <a:latin typeface="Calibri Light" panose="020F0302020204030204"/>
          </a:endParaRPr>
        </a:p>
      </dgm:t>
    </dgm:pt>
    <dgm:pt modelId="{16DA8337-B77C-4D50-AAA5-A2203DE31D15}" type="parTrans" cxnId="{212BE9C1-DB66-41A9-85F9-82794294DED7}">
      <dgm:prSet/>
      <dgm:spPr/>
      <dgm:t>
        <a:bodyPr/>
        <a:lstStyle/>
        <a:p>
          <a:endParaRPr lang="en-US"/>
        </a:p>
      </dgm:t>
    </dgm:pt>
    <dgm:pt modelId="{09DF6179-CC41-4391-8673-9F42F7A4CBA5}" type="sibTrans" cxnId="{212BE9C1-DB66-41A9-85F9-82794294DED7}">
      <dgm:prSet/>
      <dgm:spPr/>
      <dgm:t>
        <a:bodyPr/>
        <a:lstStyle/>
        <a:p>
          <a:endParaRPr lang="en-US"/>
        </a:p>
      </dgm:t>
    </dgm:pt>
    <dgm:pt modelId="{E7594D43-F175-4F18-976F-5467099084F2}">
      <dgm:prSet phldr="0"/>
      <dgm:spPr/>
      <dgm:t>
        <a:bodyPr/>
        <a:lstStyle/>
        <a:p>
          <a:pPr rtl="0"/>
          <a:r>
            <a:rPr lang="en-US">
              <a:solidFill>
                <a:srgbClr val="595959"/>
              </a:solidFill>
              <a:latin typeface="Calibri"/>
              <a:cs typeface="Calibri"/>
            </a:rPr>
            <a:t>This trends even persists when gender parity exists at the lower levels =&gt; top positions exclusively held by men for a long time shape the recruitment pattern for successors (unconscious bias)</a:t>
          </a:r>
          <a:endParaRPr lang="en-US">
            <a:latin typeface="Calibri Light" panose="020F0302020204030204"/>
          </a:endParaRPr>
        </a:p>
      </dgm:t>
    </dgm:pt>
    <dgm:pt modelId="{40F7F85F-7279-4CE3-B1E1-B386C82E0925}" type="parTrans" cxnId="{1AB435C6-4D16-4A5D-BBF5-E482ECC3F270}">
      <dgm:prSet/>
      <dgm:spPr/>
      <dgm:t>
        <a:bodyPr/>
        <a:lstStyle/>
        <a:p>
          <a:endParaRPr lang="en-US"/>
        </a:p>
      </dgm:t>
    </dgm:pt>
    <dgm:pt modelId="{0EEC4F0C-93D3-40C0-A625-201595DE3E18}" type="sibTrans" cxnId="{1AB435C6-4D16-4A5D-BBF5-E482ECC3F270}">
      <dgm:prSet/>
      <dgm:spPr/>
      <dgm:t>
        <a:bodyPr/>
        <a:lstStyle/>
        <a:p>
          <a:endParaRPr lang="en-US"/>
        </a:p>
      </dgm:t>
    </dgm:pt>
    <dgm:pt modelId="{D629C8AA-D1D4-46C2-96E4-1A3E45B13DF4}">
      <dgm:prSet phldr="0"/>
      <dgm:spPr/>
      <dgm:t>
        <a:bodyPr/>
        <a:lstStyle/>
        <a:p>
          <a:pPr rtl="0"/>
          <a:r>
            <a:rPr lang="en-US" b="1">
              <a:solidFill>
                <a:srgbClr val="595959"/>
              </a:solidFill>
              <a:latin typeface="Calibri"/>
              <a:cs typeface="Calibri"/>
            </a:rPr>
            <a:t>32,2%</a:t>
          </a:r>
          <a:r>
            <a:rPr lang="en-US">
              <a:solidFill>
                <a:srgbClr val="595959"/>
              </a:solidFill>
              <a:latin typeface="Calibri"/>
              <a:cs typeface="Calibri"/>
            </a:rPr>
            <a:t> of members of national parliaments in the EU are women </a:t>
          </a:r>
          <a:endParaRPr lang="en-US">
            <a:latin typeface="Calibri Light" panose="020F0302020204030204"/>
          </a:endParaRPr>
        </a:p>
      </dgm:t>
    </dgm:pt>
    <dgm:pt modelId="{EE2A21D1-C1A9-456B-B203-3175C8B7A8C5}" type="parTrans" cxnId="{7EE9D3B6-92A0-4622-9F7C-E51048576FF1}">
      <dgm:prSet/>
      <dgm:spPr/>
      <dgm:t>
        <a:bodyPr/>
        <a:lstStyle/>
        <a:p>
          <a:endParaRPr lang="en-US"/>
        </a:p>
      </dgm:t>
    </dgm:pt>
    <dgm:pt modelId="{859A1874-67E1-4B5E-9096-766D76AA6E5E}" type="sibTrans" cxnId="{7EE9D3B6-92A0-4622-9F7C-E51048576FF1}">
      <dgm:prSet/>
      <dgm:spPr/>
      <dgm:t>
        <a:bodyPr/>
        <a:lstStyle/>
        <a:p>
          <a:endParaRPr lang="en-US"/>
        </a:p>
      </dgm:t>
    </dgm:pt>
    <dgm:pt modelId="{70C23ECA-8FCE-4265-9905-5F09F6E1815D}" type="pres">
      <dgm:prSet presAssocID="{82F33ADC-2F82-428D-A296-684BD3722D9B}" presName="Name0" presStyleCnt="0">
        <dgm:presLayoutVars>
          <dgm:dir/>
          <dgm:animLvl val="lvl"/>
          <dgm:resizeHandles val="exact"/>
        </dgm:presLayoutVars>
      </dgm:prSet>
      <dgm:spPr/>
    </dgm:pt>
    <dgm:pt modelId="{D620E17C-0417-46BB-BA0E-1B58EE06E5DF}" type="pres">
      <dgm:prSet presAssocID="{A4FADC80-8873-4BFB-A509-1F6122FD7C04}" presName="composite" presStyleCnt="0"/>
      <dgm:spPr/>
    </dgm:pt>
    <dgm:pt modelId="{41E1F2C7-B8DD-43B4-8381-82089E614B91}" type="pres">
      <dgm:prSet presAssocID="{A4FADC80-8873-4BFB-A509-1F6122FD7C04}" presName="parTx" presStyleLbl="alignNode1" presStyleIdx="0" presStyleCnt="3">
        <dgm:presLayoutVars>
          <dgm:chMax val="0"/>
          <dgm:chPref val="0"/>
          <dgm:bulletEnabled val="1"/>
        </dgm:presLayoutVars>
      </dgm:prSet>
      <dgm:spPr/>
    </dgm:pt>
    <dgm:pt modelId="{62B42913-7167-4131-BEFC-D3421A0F9C15}" type="pres">
      <dgm:prSet presAssocID="{A4FADC80-8873-4BFB-A509-1F6122FD7C04}" presName="desTx" presStyleLbl="alignAccFollowNode1" presStyleIdx="0" presStyleCnt="3">
        <dgm:presLayoutVars>
          <dgm:bulletEnabled val="1"/>
        </dgm:presLayoutVars>
      </dgm:prSet>
      <dgm:spPr/>
    </dgm:pt>
    <dgm:pt modelId="{9DE74F31-61B0-4665-AFA8-F9B4044DB334}" type="pres">
      <dgm:prSet presAssocID="{B8FCAF0B-347A-424E-88B1-D9DD3E5C3B59}" presName="space" presStyleCnt="0"/>
      <dgm:spPr/>
    </dgm:pt>
    <dgm:pt modelId="{A10459F9-1AE7-44BE-AC4C-2F0FC10CB9A6}" type="pres">
      <dgm:prSet presAssocID="{6C78C2EA-194E-4DE4-8371-56B08D2C664D}" presName="composite" presStyleCnt="0"/>
      <dgm:spPr/>
    </dgm:pt>
    <dgm:pt modelId="{77828B89-9D42-4E60-A45A-1EB55EC2F888}" type="pres">
      <dgm:prSet presAssocID="{6C78C2EA-194E-4DE4-8371-56B08D2C664D}" presName="parTx" presStyleLbl="alignNode1" presStyleIdx="1" presStyleCnt="3">
        <dgm:presLayoutVars>
          <dgm:chMax val="0"/>
          <dgm:chPref val="0"/>
          <dgm:bulletEnabled val="1"/>
        </dgm:presLayoutVars>
      </dgm:prSet>
      <dgm:spPr/>
    </dgm:pt>
    <dgm:pt modelId="{AEBC251C-357D-4B1E-9F17-B2D835B21372}" type="pres">
      <dgm:prSet presAssocID="{6C78C2EA-194E-4DE4-8371-56B08D2C664D}" presName="desTx" presStyleLbl="alignAccFollowNode1" presStyleIdx="1" presStyleCnt="3">
        <dgm:presLayoutVars>
          <dgm:bulletEnabled val="1"/>
        </dgm:presLayoutVars>
      </dgm:prSet>
      <dgm:spPr/>
    </dgm:pt>
    <dgm:pt modelId="{CE2AF4D8-8970-45B3-9C1B-F28F8572F57F}" type="pres">
      <dgm:prSet presAssocID="{1ADCD3E7-393A-4003-95D4-D478DE0EA0E4}" presName="space" presStyleCnt="0"/>
      <dgm:spPr/>
    </dgm:pt>
    <dgm:pt modelId="{8B08F981-D7EA-45AB-B63D-DCEC0D36AFD2}" type="pres">
      <dgm:prSet presAssocID="{F46C92A2-3BD7-4D90-BAB7-BE968F1C3366}" presName="composite" presStyleCnt="0"/>
      <dgm:spPr/>
    </dgm:pt>
    <dgm:pt modelId="{2355138F-8233-47B6-8832-70ED49DD45D3}" type="pres">
      <dgm:prSet presAssocID="{F46C92A2-3BD7-4D90-BAB7-BE968F1C3366}" presName="parTx" presStyleLbl="alignNode1" presStyleIdx="2" presStyleCnt="3">
        <dgm:presLayoutVars>
          <dgm:chMax val="0"/>
          <dgm:chPref val="0"/>
          <dgm:bulletEnabled val="1"/>
        </dgm:presLayoutVars>
      </dgm:prSet>
      <dgm:spPr/>
    </dgm:pt>
    <dgm:pt modelId="{454E44FF-EC8B-4021-BB81-F7BA33AF9583}" type="pres">
      <dgm:prSet presAssocID="{F46C92A2-3BD7-4D90-BAB7-BE968F1C3366}" presName="desTx" presStyleLbl="alignAccFollowNode1" presStyleIdx="2" presStyleCnt="3">
        <dgm:presLayoutVars>
          <dgm:bulletEnabled val="1"/>
        </dgm:presLayoutVars>
      </dgm:prSet>
      <dgm:spPr/>
    </dgm:pt>
  </dgm:ptLst>
  <dgm:cxnLst>
    <dgm:cxn modelId="{2C914800-3EA5-4192-AD6A-AB22C2D4EA94}" srcId="{82F33ADC-2F82-428D-A296-684BD3722D9B}" destId="{6C78C2EA-194E-4DE4-8371-56B08D2C664D}" srcOrd="1" destOrd="0" parTransId="{8FABE2BA-5120-492B-976A-258FAFCEA9D3}" sibTransId="{1ADCD3E7-393A-4003-95D4-D478DE0EA0E4}"/>
    <dgm:cxn modelId="{BCF53B06-337A-4369-881C-D7C30F5551F8}" type="presOf" srcId="{05635674-30DE-4607-AB11-8A82B6CFBB11}" destId="{62B42913-7167-4131-BEFC-D3421A0F9C15}" srcOrd="0" destOrd="0" presId="urn:microsoft.com/office/officeart/2005/8/layout/hList1"/>
    <dgm:cxn modelId="{0D54120E-3967-40A9-90FC-31A015889F90}" type="presOf" srcId="{EFAFCDEF-78EE-4CEA-B452-48F63A80CAA5}" destId="{454E44FF-EC8B-4021-BB81-F7BA33AF9583}" srcOrd="0" destOrd="2" presId="urn:microsoft.com/office/officeart/2005/8/layout/hList1"/>
    <dgm:cxn modelId="{7AE36315-5A68-4B22-A8E3-39BA318C8F2F}" srcId="{6C78C2EA-194E-4DE4-8371-56B08D2C664D}" destId="{A8E2EED1-5513-4868-8077-65B015062A67}" srcOrd="2" destOrd="0" parTransId="{0C361D20-D155-4A37-B06F-604455B3D012}" sibTransId="{0658DF42-544D-4494-87BA-D52A22FFFF7E}"/>
    <dgm:cxn modelId="{2802C520-F23B-45F5-8516-44116E533FCD}" type="presOf" srcId="{6C78C2EA-194E-4DE4-8371-56B08D2C664D}" destId="{77828B89-9D42-4E60-A45A-1EB55EC2F888}" srcOrd="0" destOrd="0" presId="urn:microsoft.com/office/officeart/2005/8/layout/hList1"/>
    <dgm:cxn modelId="{42BE0434-E417-4DCF-8453-4A078043EEC9}" srcId="{F46C92A2-3BD7-4D90-BAB7-BE968F1C3366}" destId="{EED49418-37B3-40C7-815F-BF9DBDAAADED}" srcOrd="1" destOrd="0" parTransId="{5B3AD6E6-E6FF-45F0-9502-9E39C9F2A4E4}" sibTransId="{0E2DA726-9B83-4371-83DF-E4DA36C05455}"/>
    <dgm:cxn modelId="{3854FB3B-4105-40B9-8BD9-B3C60732EBC2}" srcId="{A4FADC80-8873-4BFB-A509-1F6122FD7C04}" destId="{05635674-30DE-4607-AB11-8A82B6CFBB11}" srcOrd="0" destOrd="0" parTransId="{44E142F2-BC35-462B-88B5-C3698F7BC2B8}" sibTransId="{C8F30C44-13B3-40BB-95AD-F0B145585F91}"/>
    <dgm:cxn modelId="{DEB0B73F-24B0-4B1E-A101-179DAB670B62}" type="presOf" srcId="{F46C92A2-3BD7-4D90-BAB7-BE968F1C3366}" destId="{2355138F-8233-47B6-8832-70ED49DD45D3}" srcOrd="0" destOrd="0" presId="urn:microsoft.com/office/officeart/2005/8/layout/hList1"/>
    <dgm:cxn modelId="{E4326E45-4F54-4573-9DB8-397AE5FDC37A}" srcId="{6C78C2EA-194E-4DE4-8371-56B08D2C664D}" destId="{B47DB230-7AE7-49B7-BA3B-9D2CA1AB943E}" srcOrd="1" destOrd="0" parTransId="{16A8FB9C-5391-41FC-9E8F-17A1A0576283}" sibTransId="{170E0DBC-59A9-4D5C-A261-8B3C59FF6D8E}"/>
    <dgm:cxn modelId="{6FB39D4E-01EC-46D0-9E16-5FACF1CD58E2}" type="presOf" srcId="{B47DB230-7AE7-49B7-BA3B-9D2CA1AB943E}" destId="{AEBC251C-357D-4B1E-9F17-B2D835B21372}" srcOrd="0" destOrd="1" presId="urn:microsoft.com/office/officeart/2005/8/layout/hList1"/>
    <dgm:cxn modelId="{B8CAE152-7163-4C25-ACB7-D256433E1D70}" srcId="{6C78C2EA-194E-4DE4-8371-56B08D2C664D}" destId="{DB87952A-F5F8-43E7-BFC4-EE654A0DB434}" srcOrd="0" destOrd="0" parTransId="{33DF5554-0D9D-487A-B3A4-1878A59AC50B}" sibTransId="{C356B667-7354-45A7-99FF-2D1B86369ADF}"/>
    <dgm:cxn modelId="{066E3F7E-0BDB-42DA-9291-89E3A3AA3FA2}" type="presOf" srcId="{82F33ADC-2F82-428D-A296-684BD3722D9B}" destId="{70C23ECA-8FCE-4265-9905-5F09F6E1815D}" srcOrd="0" destOrd="0" presId="urn:microsoft.com/office/officeart/2005/8/layout/hList1"/>
    <dgm:cxn modelId="{2B111487-8AA9-4CD8-9198-432B61EB4306}" type="presOf" srcId="{D629C8AA-D1D4-46C2-96E4-1A3E45B13DF4}" destId="{454E44FF-EC8B-4021-BB81-F7BA33AF9583}" srcOrd="0" destOrd="3" presId="urn:microsoft.com/office/officeart/2005/8/layout/hList1"/>
    <dgm:cxn modelId="{F01DF788-4D7F-49A4-8961-5303CFDB233B}" type="presOf" srcId="{5F2A9AEE-8754-420A-A175-D15B2BCAB11E}" destId="{454E44FF-EC8B-4021-BB81-F7BA33AF9583}" srcOrd="0" destOrd="0" presId="urn:microsoft.com/office/officeart/2005/8/layout/hList1"/>
    <dgm:cxn modelId="{A6552F8D-091A-4552-9B7D-F68E58335483}" srcId="{82F33ADC-2F82-428D-A296-684BD3722D9B}" destId="{A4FADC80-8873-4BFB-A509-1F6122FD7C04}" srcOrd="0" destOrd="0" parTransId="{A8655672-8E12-4160-B7B9-BDCB7DC53E27}" sibTransId="{B8FCAF0B-347A-424E-88B1-D9DD3E5C3B59}"/>
    <dgm:cxn modelId="{5249798D-6D43-459A-9CC6-140094FE9A5B}" type="presOf" srcId="{EED49418-37B3-40C7-815F-BF9DBDAAADED}" destId="{454E44FF-EC8B-4021-BB81-F7BA33AF9583}" srcOrd="0" destOrd="1" presId="urn:microsoft.com/office/officeart/2005/8/layout/hList1"/>
    <dgm:cxn modelId="{C22A7DA2-0888-4FCE-B83C-1BAAF06316AA}" type="presOf" srcId="{A4FADC80-8873-4BFB-A509-1F6122FD7C04}" destId="{41E1F2C7-B8DD-43B4-8381-82089E614B91}" srcOrd="0" destOrd="0" presId="urn:microsoft.com/office/officeart/2005/8/layout/hList1"/>
    <dgm:cxn modelId="{7EE9D3B6-92A0-4622-9F7C-E51048576FF1}" srcId="{EED49418-37B3-40C7-815F-BF9DBDAAADED}" destId="{D629C8AA-D1D4-46C2-96E4-1A3E45B13DF4}" srcOrd="1" destOrd="0" parTransId="{EE2A21D1-C1A9-456B-B203-3175C8B7A8C5}" sibTransId="{859A1874-67E1-4B5E-9096-766D76AA6E5E}"/>
    <dgm:cxn modelId="{16DF67BF-83C9-40FF-9003-AF502DDBC2EA}" type="presOf" srcId="{A8E2EED1-5513-4868-8077-65B015062A67}" destId="{AEBC251C-357D-4B1E-9F17-B2D835B21372}" srcOrd="0" destOrd="2" presId="urn:microsoft.com/office/officeart/2005/8/layout/hList1"/>
    <dgm:cxn modelId="{212BE9C1-DB66-41A9-85F9-82794294DED7}" srcId="{EED49418-37B3-40C7-815F-BF9DBDAAADED}" destId="{EFAFCDEF-78EE-4CEA-B452-48F63A80CAA5}" srcOrd="0" destOrd="0" parTransId="{16DA8337-B77C-4D50-AAA5-A2203DE31D15}" sibTransId="{09DF6179-CC41-4391-8673-9F42F7A4CBA5}"/>
    <dgm:cxn modelId="{1AB435C6-4D16-4A5D-BBF5-E482ECC3F270}" srcId="{F46C92A2-3BD7-4D90-BAB7-BE968F1C3366}" destId="{E7594D43-F175-4F18-976F-5467099084F2}" srcOrd="2" destOrd="0" parTransId="{40F7F85F-7279-4CE3-B1E1-B386C82E0925}" sibTransId="{0EEC4F0C-93D3-40C0-A625-201595DE3E18}"/>
    <dgm:cxn modelId="{A85759D2-7E38-4E1F-8D59-388353D95CA0}" type="presOf" srcId="{DB87952A-F5F8-43E7-BFC4-EE654A0DB434}" destId="{AEBC251C-357D-4B1E-9F17-B2D835B21372}" srcOrd="0" destOrd="0" presId="urn:microsoft.com/office/officeart/2005/8/layout/hList1"/>
    <dgm:cxn modelId="{11E684DA-BF8F-4ABD-937E-DB0BE55BD45B}" srcId="{82F33ADC-2F82-428D-A296-684BD3722D9B}" destId="{F46C92A2-3BD7-4D90-BAB7-BE968F1C3366}" srcOrd="2" destOrd="0" parTransId="{6EF964FA-03A1-45E5-8F73-B0D17E83E9C4}" sibTransId="{C0EC5895-787B-443F-A6B1-5836F1681156}"/>
    <dgm:cxn modelId="{4FCF6BED-BB28-4F97-9076-1604E1EE9E36}" srcId="{F46C92A2-3BD7-4D90-BAB7-BE968F1C3366}" destId="{5F2A9AEE-8754-420A-A175-D15B2BCAB11E}" srcOrd="0" destOrd="0" parTransId="{564DBB91-87DF-42B1-8F52-4BA1B3AB352F}" sibTransId="{48E33ACF-82F6-4F09-8E7B-0B15E3E959A4}"/>
    <dgm:cxn modelId="{4C3D37F7-3D0C-41BE-AE75-C9309B6E040B}" type="presOf" srcId="{E7594D43-F175-4F18-976F-5467099084F2}" destId="{454E44FF-EC8B-4021-BB81-F7BA33AF9583}" srcOrd="0" destOrd="4" presId="urn:microsoft.com/office/officeart/2005/8/layout/hList1"/>
    <dgm:cxn modelId="{1FB286DE-A535-451F-A492-D6F5D35A1CC9}" type="presParOf" srcId="{70C23ECA-8FCE-4265-9905-5F09F6E1815D}" destId="{D620E17C-0417-46BB-BA0E-1B58EE06E5DF}" srcOrd="0" destOrd="0" presId="urn:microsoft.com/office/officeart/2005/8/layout/hList1"/>
    <dgm:cxn modelId="{61410A0F-ADAD-4BC4-98C8-BD39AA32F0B0}" type="presParOf" srcId="{D620E17C-0417-46BB-BA0E-1B58EE06E5DF}" destId="{41E1F2C7-B8DD-43B4-8381-82089E614B91}" srcOrd="0" destOrd="0" presId="urn:microsoft.com/office/officeart/2005/8/layout/hList1"/>
    <dgm:cxn modelId="{5FA0003F-D610-4952-B588-6334F0F001BC}" type="presParOf" srcId="{D620E17C-0417-46BB-BA0E-1B58EE06E5DF}" destId="{62B42913-7167-4131-BEFC-D3421A0F9C15}" srcOrd="1" destOrd="0" presId="urn:microsoft.com/office/officeart/2005/8/layout/hList1"/>
    <dgm:cxn modelId="{2DB33598-91D1-4A3B-8A66-A27DFAA1A69C}" type="presParOf" srcId="{70C23ECA-8FCE-4265-9905-5F09F6E1815D}" destId="{9DE74F31-61B0-4665-AFA8-F9B4044DB334}" srcOrd="1" destOrd="0" presId="urn:microsoft.com/office/officeart/2005/8/layout/hList1"/>
    <dgm:cxn modelId="{DC964CD1-A9BA-4FA0-AE67-E680CE853161}" type="presParOf" srcId="{70C23ECA-8FCE-4265-9905-5F09F6E1815D}" destId="{A10459F9-1AE7-44BE-AC4C-2F0FC10CB9A6}" srcOrd="2" destOrd="0" presId="urn:microsoft.com/office/officeart/2005/8/layout/hList1"/>
    <dgm:cxn modelId="{16CEDDD4-8252-4DD5-A056-C668643F80B4}" type="presParOf" srcId="{A10459F9-1AE7-44BE-AC4C-2F0FC10CB9A6}" destId="{77828B89-9D42-4E60-A45A-1EB55EC2F888}" srcOrd="0" destOrd="0" presId="urn:microsoft.com/office/officeart/2005/8/layout/hList1"/>
    <dgm:cxn modelId="{0A10C72F-237C-4653-9A93-569876C94389}" type="presParOf" srcId="{A10459F9-1AE7-44BE-AC4C-2F0FC10CB9A6}" destId="{AEBC251C-357D-4B1E-9F17-B2D835B21372}" srcOrd="1" destOrd="0" presId="urn:microsoft.com/office/officeart/2005/8/layout/hList1"/>
    <dgm:cxn modelId="{9896132B-C65E-4557-ABBA-2264FDBD9594}" type="presParOf" srcId="{70C23ECA-8FCE-4265-9905-5F09F6E1815D}" destId="{CE2AF4D8-8970-45B3-9C1B-F28F8572F57F}" srcOrd="3" destOrd="0" presId="urn:microsoft.com/office/officeart/2005/8/layout/hList1"/>
    <dgm:cxn modelId="{47B56C8A-2159-413D-8319-7BED06D421A4}" type="presParOf" srcId="{70C23ECA-8FCE-4265-9905-5F09F6E1815D}" destId="{8B08F981-D7EA-45AB-B63D-DCEC0D36AFD2}" srcOrd="4" destOrd="0" presId="urn:microsoft.com/office/officeart/2005/8/layout/hList1"/>
    <dgm:cxn modelId="{5BE643D9-DFD7-47CC-974C-771FDCD37636}" type="presParOf" srcId="{8B08F981-D7EA-45AB-B63D-DCEC0D36AFD2}" destId="{2355138F-8233-47B6-8832-70ED49DD45D3}" srcOrd="0" destOrd="0" presId="urn:microsoft.com/office/officeart/2005/8/layout/hList1"/>
    <dgm:cxn modelId="{71D45943-04DF-4C0E-8779-A7767BECD45D}" type="presParOf" srcId="{8B08F981-D7EA-45AB-B63D-DCEC0D36AFD2}" destId="{454E44FF-EC8B-4021-BB81-F7BA33AF958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B76993-C62D-4E44-BE21-5267FB2A94A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E14DB69-1FCF-4B95-9344-8DFC41CDBBB8}">
      <dgm:prSet phldrT="[Text]" phldr="0"/>
      <dgm:spPr/>
      <dgm:t>
        <a:bodyPr/>
        <a:lstStyle/>
        <a:p>
          <a:pPr rtl="0"/>
          <a:r>
            <a:rPr lang="en-US">
              <a:solidFill>
                <a:schemeClr val="bg1"/>
              </a:solidFill>
              <a:latin typeface="Calibri Light" panose="020F0302020204030204"/>
            </a:rPr>
            <a:t>Charter of Fundamental Rights of the European Union – 2012/C 23326/02 - Article 23</a:t>
          </a:r>
          <a:endParaRPr lang="en-US">
            <a:solidFill>
              <a:schemeClr val="bg1"/>
            </a:solidFill>
          </a:endParaRPr>
        </a:p>
      </dgm:t>
    </dgm:pt>
    <dgm:pt modelId="{2C575B0C-5FE7-4AF5-9259-DC6859EFA938}" type="parTrans" cxnId="{5E3DE8A5-6E26-45F1-B386-623A1075600C}">
      <dgm:prSet/>
      <dgm:spPr/>
      <dgm:t>
        <a:bodyPr/>
        <a:lstStyle/>
        <a:p>
          <a:endParaRPr lang="en-US"/>
        </a:p>
      </dgm:t>
    </dgm:pt>
    <dgm:pt modelId="{EF60F003-C83C-4592-9628-967B6282EA23}" type="sibTrans" cxnId="{5E3DE8A5-6E26-45F1-B386-623A1075600C}">
      <dgm:prSet/>
      <dgm:spPr/>
      <dgm:t>
        <a:bodyPr/>
        <a:lstStyle/>
        <a:p>
          <a:endParaRPr lang="en-US"/>
        </a:p>
      </dgm:t>
    </dgm:pt>
    <dgm:pt modelId="{EF4083B2-E168-4021-B109-A11277FCEB9F}">
      <dgm:prSet phldr="0"/>
      <dgm:spPr/>
      <dgm:t>
        <a:bodyPr/>
        <a:lstStyle/>
        <a:p>
          <a:pPr rtl="0"/>
          <a:r>
            <a:rPr lang="en-US">
              <a:solidFill>
                <a:schemeClr val="bg1"/>
              </a:solidFill>
              <a:latin typeface="Calibri"/>
              <a:cs typeface="Calibri"/>
            </a:rPr>
            <a:t>“</a:t>
          </a:r>
          <a:r>
            <a:rPr lang="en-US" b="1">
              <a:solidFill>
                <a:schemeClr val="bg1"/>
              </a:solidFill>
              <a:latin typeface="Calibri"/>
              <a:cs typeface="Calibri"/>
            </a:rPr>
            <a:t>In all its activities, the Union shall aim to eliminate inequalities, and to promote equality, between men and women.”</a:t>
          </a:r>
        </a:p>
      </dgm:t>
    </dgm:pt>
    <dgm:pt modelId="{91C1FFAC-5DD3-472F-BBF1-87F5F40F696B}" type="parTrans" cxnId="{183878DF-8410-4969-9945-958054A04658}">
      <dgm:prSet/>
      <dgm:spPr/>
    </dgm:pt>
    <dgm:pt modelId="{65EC591A-723F-4F9C-9CFB-3EF5E3ACEF18}" type="sibTrans" cxnId="{183878DF-8410-4969-9945-958054A04658}">
      <dgm:prSet/>
      <dgm:spPr/>
    </dgm:pt>
    <dgm:pt modelId="{2A9EC46F-483C-454C-8844-F811B2973E7F}">
      <dgm:prSet phldr="0"/>
      <dgm:spPr/>
      <dgm:t>
        <a:bodyPr/>
        <a:lstStyle/>
        <a:p>
          <a:pPr rtl="0"/>
          <a:r>
            <a:rPr lang="en-US">
              <a:solidFill>
                <a:schemeClr val="bg1"/>
              </a:solidFill>
              <a:latin typeface="Calibri"/>
              <a:cs typeface="Calibri"/>
            </a:rPr>
            <a:t>Treaty on the Functioning of the European Union - Article 8</a:t>
          </a:r>
          <a:endParaRPr lang="en-US">
            <a:solidFill>
              <a:schemeClr val="bg1"/>
            </a:solidFill>
            <a:latin typeface="Calibri Light" panose="020F0302020204030204"/>
          </a:endParaRPr>
        </a:p>
      </dgm:t>
    </dgm:pt>
    <dgm:pt modelId="{B7603CEE-ADE2-4A75-89D6-939B68A3B16D}" type="parTrans" cxnId="{9A11BE78-A4A9-49D7-826B-4D8B793CB827}">
      <dgm:prSet/>
      <dgm:spPr/>
    </dgm:pt>
    <dgm:pt modelId="{F179CF97-4E6F-4618-82AD-40F2FDCB9AAF}" type="sibTrans" cxnId="{9A11BE78-A4A9-49D7-826B-4D8B793CB827}">
      <dgm:prSet/>
      <dgm:spPr/>
    </dgm:pt>
    <dgm:pt modelId="{CC33D7E8-D435-4BEE-B48A-F5C0E9EE7936}">
      <dgm:prSet phldr="0"/>
      <dgm:spPr/>
      <dgm:t>
        <a:bodyPr/>
        <a:lstStyle/>
        <a:p>
          <a:pPr algn="ctr" rtl="0"/>
          <a:r>
            <a:rPr lang="en-US">
              <a:solidFill>
                <a:schemeClr val="bg1"/>
              </a:solidFill>
              <a:latin typeface="Calibri"/>
              <a:cs typeface="Calibri"/>
            </a:rPr>
            <a:t>“</a:t>
          </a:r>
          <a:r>
            <a:rPr lang="en-US" b="1">
              <a:solidFill>
                <a:schemeClr val="bg1"/>
              </a:solidFill>
              <a:latin typeface="Calibri"/>
              <a:cs typeface="Calibri"/>
            </a:rPr>
            <a:t>Equality between women and men must be ensured in all areas, including employment, work and pay. </a:t>
          </a:r>
          <a:r>
            <a:rPr lang="en-US">
              <a:solidFill>
                <a:schemeClr val="bg1"/>
              </a:solidFill>
              <a:latin typeface="Calibri"/>
              <a:cs typeface="Calibri"/>
            </a:rPr>
            <a:t>The principle of equality shall not prevent the maintenance or adoption of measures providing for specific advantages in favour of the under-represented sex.”</a:t>
          </a:r>
          <a:endParaRPr lang="en-US">
            <a:solidFill>
              <a:schemeClr val="bg1"/>
            </a:solidFill>
            <a:latin typeface="Calibri Light" panose="020F0302020204030204"/>
          </a:endParaRPr>
        </a:p>
      </dgm:t>
    </dgm:pt>
    <dgm:pt modelId="{11673A8A-0F41-4CF4-9D90-ED19EFF1A15D}" type="parTrans" cxnId="{CF5CFC54-2E73-4B20-A2CC-E90C8CDB268E}">
      <dgm:prSet/>
      <dgm:spPr/>
    </dgm:pt>
    <dgm:pt modelId="{1E07DCC9-9DA1-44E4-BFD7-8B24828FD9C4}" type="sibTrans" cxnId="{CF5CFC54-2E73-4B20-A2CC-E90C8CDB268E}">
      <dgm:prSet/>
      <dgm:spPr/>
    </dgm:pt>
    <dgm:pt modelId="{272365A7-862E-41A6-85E0-8FE192221ACF}">
      <dgm:prSet phldr="0"/>
      <dgm:spPr/>
      <dgm:t>
        <a:bodyPr/>
        <a:lstStyle/>
        <a:p>
          <a:pPr algn="ctr" rtl="0"/>
          <a:r>
            <a:rPr lang="en-US" i="0">
              <a:solidFill>
                <a:schemeClr val="bg1"/>
              </a:solidFill>
              <a:latin typeface="Calibri Body"/>
              <a:cs typeface="Calibri"/>
            </a:rPr>
            <a:t>“EU institutions and bodies should not be exempt from ensuring gender balance in leadership positions. The Commission will lead by example [...] The Commission will also increase efforts towards reaching a larger share of female managers in EU agencies, and will ensure gender balanced representation among speakers and panellists in the conferences it organises.”</a:t>
          </a:r>
          <a:endParaRPr lang="en-US" i="0">
            <a:solidFill>
              <a:schemeClr val="bg1"/>
            </a:solidFill>
            <a:latin typeface="Calibri Body"/>
          </a:endParaRPr>
        </a:p>
      </dgm:t>
    </dgm:pt>
    <dgm:pt modelId="{8465C512-FE81-484E-A413-5F9712E53F26}" type="parTrans" cxnId="{1859155D-19F7-48E9-9BF9-1972D5C9A0F0}">
      <dgm:prSet/>
      <dgm:spPr/>
    </dgm:pt>
    <dgm:pt modelId="{FD2589E4-3E31-4E0E-91F0-9E2CDEF28E87}" type="sibTrans" cxnId="{1859155D-19F7-48E9-9BF9-1972D5C9A0F0}">
      <dgm:prSet/>
      <dgm:spPr/>
    </dgm:pt>
    <dgm:pt modelId="{869CE08B-1C41-45A0-9541-9935B3B47C10}">
      <dgm:prSet phldr="0"/>
      <dgm:spPr/>
      <dgm:t>
        <a:bodyPr/>
        <a:lstStyle/>
        <a:p>
          <a:pPr rtl="0"/>
          <a:r>
            <a:rPr lang="en-US">
              <a:solidFill>
                <a:schemeClr val="bg1"/>
              </a:solidFill>
              <a:latin typeface="Calibri"/>
              <a:cs typeface="Calibri"/>
            </a:rPr>
            <a:t>European Commission - 5.3.2020 - </a:t>
          </a:r>
          <a:r>
            <a:rPr lang="en-US" i="1">
              <a:solidFill>
                <a:schemeClr val="bg1"/>
              </a:solidFill>
              <a:latin typeface="Calibri"/>
              <a:cs typeface="Calibri"/>
            </a:rPr>
            <a:t>A Union of Equality: Gender Equality Strategy 2020-2025</a:t>
          </a:r>
          <a:endParaRPr lang="en-US">
            <a:solidFill>
              <a:schemeClr val="bg1"/>
            </a:solidFill>
            <a:latin typeface="Calibri Light" panose="020F0302020204030204"/>
          </a:endParaRPr>
        </a:p>
      </dgm:t>
    </dgm:pt>
    <dgm:pt modelId="{0512EBED-8072-4CC3-9527-A92D93B84245}" type="parTrans" cxnId="{2F9FAEE7-767F-4E44-A0F7-5285AE5009E9}">
      <dgm:prSet/>
      <dgm:spPr/>
    </dgm:pt>
    <dgm:pt modelId="{39F916B5-0101-4D6F-BCED-B980EC406C4D}" type="sibTrans" cxnId="{2F9FAEE7-767F-4E44-A0F7-5285AE5009E9}">
      <dgm:prSet/>
      <dgm:spPr/>
    </dgm:pt>
    <dgm:pt modelId="{2A137499-5125-4F35-883B-E27934D13E78}" type="pres">
      <dgm:prSet presAssocID="{FDB76993-C62D-4E44-BE21-5267FB2A94A1}" presName="linear" presStyleCnt="0">
        <dgm:presLayoutVars>
          <dgm:animLvl val="lvl"/>
          <dgm:resizeHandles val="exact"/>
        </dgm:presLayoutVars>
      </dgm:prSet>
      <dgm:spPr/>
    </dgm:pt>
    <dgm:pt modelId="{83115214-D308-4A52-95AE-23FFD06A56E9}" type="pres">
      <dgm:prSet presAssocID="{EF4083B2-E168-4021-B109-A11277FCEB9F}" presName="parentText" presStyleLbl="node1" presStyleIdx="0" presStyleCnt="3">
        <dgm:presLayoutVars>
          <dgm:chMax val="0"/>
          <dgm:bulletEnabled val="1"/>
        </dgm:presLayoutVars>
      </dgm:prSet>
      <dgm:spPr/>
    </dgm:pt>
    <dgm:pt modelId="{76E8ECF4-1131-4C9E-B782-754C6B5EB537}" type="pres">
      <dgm:prSet presAssocID="{EF4083B2-E168-4021-B109-A11277FCEB9F}" presName="childText" presStyleLbl="revTx" presStyleIdx="0" presStyleCnt="3">
        <dgm:presLayoutVars>
          <dgm:bulletEnabled val="1"/>
        </dgm:presLayoutVars>
      </dgm:prSet>
      <dgm:spPr/>
    </dgm:pt>
    <dgm:pt modelId="{630FE260-1E1B-4D58-A2C0-C1082A4C8061}" type="pres">
      <dgm:prSet presAssocID="{CC33D7E8-D435-4BEE-B48A-F5C0E9EE7936}" presName="parentText" presStyleLbl="node1" presStyleIdx="1" presStyleCnt="3">
        <dgm:presLayoutVars>
          <dgm:chMax val="0"/>
          <dgm:bulletEnabled val="1"/>
        </dgm:presLayoutVars>
      </dgm:prSet>
      <dgm:spPr/>
    </dgm:pt>
    <dgm:pt modelId="{7196BECD-E52A-4FB3-AC2C-F61D03EEA542}" type="pres">
      <dgm:prSet presAssocID="{CC33D7E8-D435-4BEE-B48A-F5C0E9EE7936}" presName="childText" presStyleLbl="revTx" presStyleIdx="1" presStyleCnt="3">
        <dgm:presLayoutVars>
          <dgm:bulletEnabled val="1"/>
        </dgm:presLayoutVars>
      </dgm:prSet>
      <dgm:spPr/>
    </dgm:pt>
    <dgm:pt modelId="{69795C90-0F4B-46F8-B9A4-54863E51725B}" type="pres">
      <dgm:prSet presAssocID="{272365A7-862E-41A6-85E0-8FE192221ACF}" presName="parentText" presStyleLbl="node1" presStyleIdx="2" presStyleCnt="3">
        <dgm:presLayoutVars>
          <dgm:chMax val="0"/>
          <dgm:bulletEnabled val="1"/>
        </dgm:presLayoutVars>
      </dgm:prSet>
      <dgm:spPr/>
    </dgm:pt>
    <dgm:pt modelId="{02FD8FB9-1A11-4506-B9BF-1FE21247D337}" type="pres">
      <dgm:prSet presAssocID="{272365A7-862E-41A6-85E0-8FE192221ACF}" presName="childText" presStyleLbl="revTx" presStyleIdx="2" presStyleCnt="3">
        <dgm:presLayoutVars>
          <dgm:bulletEnabled val="1"/>
        </dgm:presLayoutVars>
      </dgm:prSet>
      <dgm:spPr/>
    </dgm:pt>
  </dgm:ptLst>
  <dgm:cxnLst>
    <dgm:cxn modelId="{7E92BB10-48CE-4AA2-85AF-9C088D0725F1}" type="presOf" srcId="{FDB76993-C62D-4E44-BE21-5267FB2A94A1}" destId="{2A137499-5125-4F35-883B-E27934D13E78}" srcOrd="0" destOrd="0" presId="urn:microsoft.com/office/officeart/2005/8/layout/vList2"/>
    <dgm:cxn modelId="{B76EBD13-D950-4CBA-A851-A7835E4BC218}" type="presOf" srcId="{272365A7-862E-41A6-85E0-8FE192221ACF}" destId="{69795C90-0F4B-46F8-B9A4-54863E51725B}" srcOrd="0" destOrd="0" presId="urn:microsoft.com/office/officeart/2005/8/layout/vList2"/>
    <dgm:cxn modelId="{1859155D-19F7-48E9-9BF9-1972D5C9A0F0}" srcId="{FDB76993-C62D-4E44-BE21-5267FB2A94A1}" destId="{272365A7-862E-41A6-85E0-8FE192221ACF}" srcOrd="2" destOrd="0" parTransId="{8465C512-FE81-484E-A413-5F9712E53F26}" sibTransId="{FD2589E4-3E31-4E0E-91F0-9E2CDEF28E87}"/>
    <dgm:cxn modelId="{F4172E51-9D89-420B-A930-C990BD0AF1CD}" type="presOf" srcId="{CC33D7E8-D435-4BEE-B48A-F5C0E9EE7936}" destId="{630FE260-1E1B-4D58-A2C0-C1082A4C8061}" srcOrd="0" destOrd="0" presId="urn:microsoft.com/office/officeart/2005/8/layout/vList2"/>
    <dgm:cxn modelId="{CF5CFC54-2E73-4B20-A2CC-E90C8CDB268E}" srcId="{FDB76993-C62D-4E44-BE21-5267FB2A94A1}" destId="{CC33D7E8-D435-4BEE-B48A-F5C0E9EE7936}" srcOrd="1" destOrd="0" parTransId="{11673A8A-0F41-4CF4-9D90-ED19EFF1A15D}" sibTransId="{1E07DCC9-9DA1-44E4-BFD7-8B24828FD9C4}"/>
    <dgm:cxn modelId="{9A11BE78-A4A9-49D7-826B-4D8B793CB827}" srcId="{EF4083B2-E168-4021-B109-A11277FCEB9F}" destId="{2A9EC46F-483C-454C-8844-F811B2973E7F}" srcOrd="0" destOrd="0" parTransId="{B7603CEE-ADE2-4A75-89D6-939B68A3B16D}" sibTransId="{F179CF97-4E6F-4618-82AD-40F2FDCB9AAF}"/>
    <dgm:cxn modelId="{14999590-5F05-4C7C-B617-E65A7FDF57BC}" type="presOf" srcId="{869CE08B-1C41-45A0-9541-9935B3B47C10}" destId="{02FD8FB9-1A11-4506-B9BF-1FE21247D337}" srcOrd="0" destOrd="0" presId="urn:microsoft.com/office/officeart/2005/8/layout/vList2"/>
    <dgm:cxn modelId="{69DFAF92-4DF9-4DA4-BB6C-F646039FF731}" type="presOf" srcId="{EF4083B2-E168-4021-B109-A11277FCEB9F}" destId="{83115214-D308-4A52-95AE-23FFD06A56E9}" srcOrd="0" destOrd="0" presId="urn:microsoft.com/office/officeart/2005/8/layout/vList2"/>
    <dgm:cxn modelId="{E22E27A2-1F71-4A7A-BF41-0E271BC8104E}" type="presOf" srcId="{2A9EC46F-483C-454C-8844-F811B2973E7F}" destId="{76E8ECF4-1131-4C9E-B782-754C6B5EB537}" srcOrd="0" destOrd="0" presId="urn:microsoft.com/office/officeart/2005/8/layout/vList2"/>
    <dgm:cxn modelId="{5E3DE8A5-6E26-45F1-B386-623A1075600C}" srcId="{CC33D7E8-D435-4BEE-B48A-F5C0E9EE7936}" destId="{9E14DB69-1FCF-4B95-9344-8DFC41CDBBB8}" srcOrd="0" destOrd="0" parTransId="{2C575B0C-5FE7-4AF5-9259-DC6859EFA938}" sibTransId="{EF60F003-C83C-4592-9628-967B6282EA23}"/>
    <dgm:cxn modelId="{CED89ABC-D8B2-476F-8A59-D3563E74A007}" type="presOf" srcId="{9E14DB69-1FCF-4B95-9344-8DFC41CDBBB8}" destId="{7196BECD-E52A-4FB3-AC2C-F61D03EEA542}" srcOrd="0" destOrd="0" presId="urn:microsoft.com/office/officeart/2005/8/layout/vList2"/>
    <dgm:cxn modelId="{183878DF-8410-4969-9945-958054A04658}" srcId="{FDB76993-C62D-4E44-BE21-5267FB2A94A1}" destId="{EF4083B2-E168-4021-B109-A11277FCEB9F}" srcOrd="0" destOrd="0" parTransId="{91C1FFAC-5DD3-472F-BBF1-87F5F40F696B}" sibTransId="{65EC591A-723F-4F9C-9CFB-3EF5E3ACEF18}"/>
    <dgm:cxn modelId="{2F9FAEE7-767F-4E44-A0F7-5285AE5009E9}" srcId="{272365A7-862E-41A6-85E0-8FE192221ACF}" destId="{869CE08B-1C41-45A0-9541-9935B3B47C10}" srcOrd="0" destOrd="0" parTransId="{0512EBED-8072-4CC3-9527-A92D93B84245}" sibTransId="{39F916B5-0101-4D6F-BCED-B980EC406C4D}"/>
    <dgm:cxn modelId="{4B8FC1C3-9652-44D8-9A44-4AC8C2CCE021}" type="presParOf" srcId="{2A137499-5125-4F35-883B-E27934D13E78}" destId="{83115214-D308-4A52-95AE-23FFD06A56E9}" srcOrd="0" destOrd="0" presId="urn:microsoft.com/office/officeart/2005/8/layout/vList2"/>
    <dgm:cxn modelId="{0392DFE5-663A-487C-B2B1-0850CD91F041}" type="presParOf" srcId="{2A137499-5125-4F35-883B-E27934D13E78}" destId="{76E8ECF4-1131-4C9E-B782-754C6B5EB537}" srcOrd="1" destOrd="0" presId="urn:microsoft.com/office/officeart/2005/8/layout/vList2"/>
    <dgm:cxn modelId="{C3313965-B439-40F6-8860-AA489251319D}" type="presParOf" srcId="{2A137499-5125-4F35-883B-E27934D13E78}" destId="{630FE260-1E1B-4D58-A2C0-C1082A4C8061}" srcOrd="2" destOrd="0" presId="urn:microsoft.com/office/officeart/2005/8/layout/vList2"/>
    <dgm:cxn modelId="{9E1B7A90-7DE7-48C7-ADED-5ABF21F7C261}" type="presParOf" srcId="{2A137499-5125-4F35-883B-E27934D13E78}" destId="{7196BECD-E52A-4FB3-AC2C-F61D03EEA542}" srcOrd="3" destOrd="0" presId="urn:microsoft.com/office/officeart/2005/8/layout/vList2"/>
    <dgm:cxn modelId="{3AD21120-7FC6-4917-978B-F0066E0C9C18}" type="presParOf" srcId="{2A137499-5125-4F35-883B-E27934D13E78}" destId="{69795C90-0F4B-46F8-B9A4-54863E51725B}" srcOrd="4" destOrd="0" presId="urn:microsoft.com/office/officeart/2005/8/layout/vList2"/>
    <dgm:cxn modelId="{9BC07F51-0274-48B1-804C-5FD72B80CD22}" type="presParOf" srcId="{2A137499-5125-4F35-883B-E27934D13E78}" destId="{02FD8FB9-1A11-4506-B9BF-1FE21247D337}"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DC03E3-9147-43DE-AD57-EBB93E93EB9D}"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B9AEE7F5-1829-4D38-84E8-0F255CF88BD8}">
      <dgm:prSet phldrT="[Text]" phldr="0"/>
      <dgm:spPr/>
      <dgm:t>
        <a:bodyPr/>
        <a:lstStyle/>
        <a:p>
          <a:pPr rtl="0"/>
          <a:r>
            <a:rPr lang="en-US">
              <a:latin typeface="Calibri Light" panose="020F0302020204030204"/>
            </a:rPr>
            <a:t> </a:t>
          </a:r>
          <a:endParaRPr lang="en-US"/>
        </a:p>
      </dgm:t>
    </dgm:pt>
    <dgm:pt modelId="{42443571-94F1-4D98-9760-53C8674B69AD}" type="parTrans" cxnId="{F1DA187A-BCA9-4B29-BC5B-76258E6E2620}">
      <dgm:prSet/>
      <dgm:spPr/>
      <dgm:t>
        <a:bodyPr/>
        <a:lstStyle/>
        <a:p>
          <a:endParaRPr lang="en-US"/>
        </a:p>
      </dgm:t>
    </dgm:pt>
    <dgm:pt modelId="{C2A8BE69-E6AA-430C-9556-F535785D1B22}" type="sibTrans" cxnId="{F1DA187A-BCA9-4B29-BC5B-76258E6E2620}">
      <dgm:prSet/>
      <dgm:spPr/>
      <dgm:t>
        <a:bodyPr/>
        <a:lstStyle/>
        <a:p>
          <a:endParaRPr lang="en-US"/>
        </a:p>
      </dgm:t>
    </dgm:pt>
    <dgm:pt modelId="{A147DAB7-8D8D-464D-9175-AE263FCE4854}">
      <dgm:prSet phldrT="[Text]" phldr="0"/>
      <dgm:spPr/>
      <dgm:t>
        <a:bodyPr/>
        <a:lstStyle/>
        <a:p>
          <a:pPr rtl="0"/>
          <a:r>
            <a:rPr lang="en-US">
              <a:latin typeface="Calibri Light" panose="020F0302020204030204"/>
            </a:rPr>
            <a:t> </a:t>
          </a:r>
          <a:endParaRPr lang="en-US"/>
        </a:p>
      </dgm:t>
    </dgm:pt>
    <dgm:pt modelId="{446B2CE3-40A5-4A67-BD39-45885923D8FC}" type="parTrans" cxnId="{BD69C230-C0F8-43D8-A908-8229C60F8FC8}">
      <dgm:prSet/>
      <dgm:spPr/>
      <dgm:t>
        <a:bodyPr/>
        <a:lstStyle/>
        <a:p>
          <a:endParaRPr lang="en-US"/>
        </a:p>
      </dgm:t>
    </dgm:pt>
    <dgm:pt modelId="{5EEE7E37-0B94-4D73-90D8-3988925D4414}" type="sibTrans" cxnId="{BD69C230-C0F8-43D8-A908-8229C60F8FC8}">
      <dgm:prSet/>
      <dgm:spPr/>
      <dgm:t>
        <a:bodyPr/>
        <a:lstStyle/>
        <a:p>
          <a:endParaRPr lang="en-US"/>
        </a:p>
      </dgm:t>
    </dgm:pt>
    <dgm:pt modelId="{2AB3EECD-9F9A-4965-A1FA-FB607001164C}">
      <dgm:prSet phldrT="[Text]" phldr="0"/>
      <dgm:spPr/>
      <dgm:t>
        <a:bodyPr/>
        <a:lstStyle/>
        <a:p>
          <a:pPr rtl="0"/>
          <a:r>
            <a:rPr lang="en-US">
              <a:latin typeface="Calibri Light" panose="020F0302020204030204"/>
            </a:rPr>
            <a:t> </a:t>
          </a:r>
          <a:endParaRPr lang="en-US"/>
        </a:p>
      </dgm:t>
    </dgm:pt>
    <dgm:pt modelId="{0D1778C4-754A-430E-A080-A865874618B1}" type="parTrans" cxnId="{0485103D-F31E-415B-9EC3-E21053B4AFF3}">
      <dgm:prSet/>
      <dgm:spPr/>
      <dgm:t>
        <a:bodyPr/>
        <a:lstStyle/>
        <a:p>
          <a:endParaRPr lang="en-US"/>
        </a:p>
      </dgm:t>
    </dgm:pt>
    <dgm:pt modelId="{DF5B47FE-EEE4-4011-843D-9F2F27877B58}" type="sibTrans" cxnId="{0485103D-F31E-415B-9EC3-E21053B4AFF3}">
      <dgm:prSet/>
      <dgm:spPr/>
      <dgm:t>
        <a:bodyPr/>
        <a:lstStyle/>
        <a:p>
          <a:endParaRPr lang="en-US"/>
        </a:p>
      </dgm:t>
    </dgm:pt>
    <dgm:pt modelId="{A22A780B-11D7-4FD4-9DF3-99BBAADDA6D7}">
      <dgm:prSet phldr="0"/>
      <dgm:spPr/>
      <dgm:t>
        <a:bodyPr/>
        <a:lstStyle/>
        <a:p>
          <a:pPr rtl="0"/>
          <a:r>
            <a:rPr lang="en-US">
              <a:solidFill>
                <a:srgbClr val="595959"/>
              </a:solidFill>
              <a:latin typeface="Calibri"/>
              <a:cs typeface="Calibri"/>
            </a:rPr>
            <a:t>To reflect the society we represent</a:t>
          </a:r>
          <a:endParaRPr lang="en-US">
            <a:latin typeface="Calibri Light" panose="020F0302020204030204"/>
          </a:endParaRPr>
        </a:p>
      </dgm:t>
    </dgm:pt>
    <dgm:pt modelId="{3482162D-1670-42BA-8202-6FE015381AAF}" type="parTrans" cxnId="{A8C76B36-4902-4FA3-AB64-2E46422E4176}">
      <dgm:prSet/>
      <dgm:spPr/>
    </dgm:pt>
    <dgm:pt modelId="{134E497A-917C-4D61-A33E-C495B2558F5F}" type="sibTrans" cxnId="{A8C76B36-4902-4FA3-AB64-2E46422E4176}">
      <dgm:prSet/>
      <dgm:spPr/>
    </dgm:pt>
    <dgm:pt modelId="{6108A500-4816-4A4F-B462-82D8EB6A84D3}">
      <dgm:prSet phldr="0"/>
      <dgm:spPr/>
      <dgm:t>
        <a:bodyPr/>
        <a:lstStyle/>
        <a:p>
          <a:pPr rtl="0"/>
          <a:r>
            <a:rPr lang="en-US">
              <a:solidFill>
                <a:srgbClr val="595959"/>
              </a:solidFill>
              <a:latin typeface="Calibri"/>
              <a:cs typeface="Calibri"/>
            </a:rPr>
            <a:t>To align the railway sector with the society in which their customers live</a:t>
          </a:r>
          <a:endParaRPr lang="en-US">
            <a:solidFill>
              <a:srgbClr val="595959"/>
            </a:solidFill>
            <a:latin typeface="Calibri Light" panose="020F0302020204030204"/>
          </a:endParaRPr>
        </a:p>
      </dgm:t>
    </dgm:pt>
    <dgm:pt modelId="{419476F6-70CA-4C2E-8F57-33C9F72A80FF}" type="parTrans" cxnId="{AC05DEE9-D8E9-4934-8EF5-C3B3184A29D6}">
      <dgm:prSet/>
      <dgm:spPr/>
    </dgm:pt>
    <dgm:pt modelId="{0F45B9A3-2C9F-42AA-B971-FA5FD307F713}" type="sibTrans" cxnId="{AC05DEE9-D8E9-4934-8EF5-C3B3184A29D6}">
      <dgm:prSet/>
      <dgm:spPr/>
    </dgm:pt>
    <dgm:pt modelId="{60DC7239-B0F6-455B-A3EC-E895A1186438}">
      <dgm:prSet phldr="0"/>
      <dgm:spPr/>
      <dgm:t>
        <a:bodyPr/>
        <a:lstStyle/>
        <a:p>
          <a:pPr rtl="0"/>
          <a:r>
            <a:rPr lang="en-US" err="1">
              <a:solidFill>
                <a:srgbClr val="595959"/>
              </a:solidFill>
              <a:latin typeface="Calibri"/>
              <a:cs typeface="Calibri"/>
            </a:rPr>
            <a:t>Organisations</a:t>
          </a:r>
          <a:r>
            <a:rPr lang="en-US">
              <a:solidFill>
                <a:srgbClr val="595959"/>
              </a:solidFill>
              <a:latin typeface="Calibri"/>
              <a:cs typeface="Calibri"/>
            </a:rPr>
            <a:t> with a balanced workforce are proven to be 6 times more innovative</a:t>
          </a:r>
          <a:endParaRPr lang="en-US">
            <a:solidFill>
              <a:srgbClr val="595959"/>
            </a:solidFill>
            <a:latin typeface="Calibri Light" panose="020F0302020204030204"/>
          </a:endParaRPr>
        </a:p>
      </dgm:t>
    </dgm:pt>
    <dgm:pt modelId="{CB84DA1C-4542-457E-B8A4-57F239F25241}" type="parTrans" cxnId="{BA7BAD93-A562-4A8D-B07F-3DC2EA420F54}">
      <dgm:prSet/>
      <dgm:spPr/>
    </dgm:pt>
    <dgm:pt modelId="{0E38FD6B-E00F-4980-B4FE-5556764123BE}" type="sibTrans" cxnId="{BA7BAD93-A562-4A8D-B07F-3DC2EA420F54}">
      <dgm:prSet/>
      <dgm:spPr/>
    </dgm:pt>
    <dgm:pt modelId="{428FF249-EAA4-4363-B9CB-D1BD5A377518}">
      <dgm:prSet phldr="0"/>
      <dgm:spPr/>
      <dgm:t>
        <a:bodyPr/>
        <a:lstStyle/>
        <a:p>
          <a:pPr rtl="0"/>
          <a:r>
            <a:rPr lang="en-US">
              <a:solidFill>
                <a:srgbClr val="595959"/>
              </a:solidFill>
              <a:latin typeface="Calibri"/>
              <a:cs typeface="Calibri"/>
            </a:rPr>
            <a:t>Gender diversity in particular facilitates creativity</a:t>
          </a:r>
          <a:endParaRPr lang="en-US">
            <a:latin typeface="Calibri Light" panose="020F0302020204030204"/>
          </a:endParaRPr>
        </a:p>
      </dgm:t>
    </dgm:pt>
    <dgm:pt modelId="{67C4030F-428D-4F95-B20B-E190660451E3}" type="parTrans" cxnId="{B446A2F9-EB0F-4955-ABE7-D12A2D666854}">
      <dgm:prSet/>
      <dgm:spPr/>
    </dgm:pt>
    <dgm:pt modelId="{D9D4B9FD-B2E5-41D0-B87E-8CB2776F60ED}" type="sibTrans" cxnId="{B446A2F9-EB0F-4955-ABE7-D12A2D666854}">
      <dgm:prSet/>
      <dgm:spPr/>
    </dgm:pt>
    <dgm:pt modelId="{0CBED00C-F6F5-42F9-9EEA-2188B9571FC8}">
      <dgm:prSet phldr="0"/>
      <dgm:spPr/>
      <dgm:t>
        <a:bodyPr/>
        <a:lstStyle/>
        <a:p>
          <a:pPr rtl="0"/>
          <a:r>
            <a:rPr lang="en-US">
              <a:solidFill>
                <a:srgbClr val="595959"/>
              </a:solidFill>
              <a:latin typeface="Calibri"/>
              <a:cs typeface="Calibri"/>
            </a:rPr>
            <a:t>Diversity improves the information processing and decision-making of the team</a:t>
          </a:r>
          <a:endParaRPr lang="en-US">
            <a:solidFill>
              <a:srgbClr val="595959"/>
            </a:solidFill>
            <a:latin typeface="Calibri Light" panose="020F0302020204030204"/>
          </a:endParaRPr>
        </a:p>
      </dgm:t>
    </dgm:pt>
    <dgm:pt modelId="{35B59E90-9E41-4A21-85D8-C95B22357E6D}" type="parTrans" cxnId="{69E7BF9E-7B57-4128-879C-E936D8B7B704}">
      <dgm:prSet/>
      <dgm:spPr/>
    </dgm:pt>
    <dgm:pt modelId="{15B60F0F-0249-4348-8458-ECB022A321F4}" type="sibTrans" cxnId="{69E7BF9E-7B57-4128-879C-E936D8B7B704}">
      <dgm:prSet/>
      <dgm:spPr/>
    </dgm:pt>
    <dgm:pt modelId="{18EE1365-4805-42DD-B9E2-76A1411A1A4F}">
      <dgm:prSet phldr="0"/>
      <dgm:spPr/>
      <dgm:t>
        <a:bodyPr/>
        <a:lstStyle/>
        <a:p>
          <a:pPr rtl="0"/>
          <a:r>
            <a:rPr lang="en-US">
              <a:solidFill>
                <a:srgbClr val="595959"/>
              </a:solidFill>
              <a:latin typeface="Calibri"/>
              <a:cs typeface="Calibri"/>
            </a:rPr>
            <a:t>Companies committed to diverse leadership are more successful</a:t>
          </a:r>
          <a:endParaRPr lang="en-US">
            <a:latin typeface="Calibri Light" panose="020F0302020204030204"/>
          </a:endParaRPr>
        </a:p>
      </dgm:t>
    </dgm:pt>
    <dgm:pt modelId="{5DA0C70D-C936-4FD6-B8C1-72D35D52AB20}" type="parTrans" cxnId="{AE28B754-9716-4836-ACAE-900401C4F22A}">
      <dgm:prSet/>
      <dgm:spPr/>
    </dgm:pt>
    <dgm:pt modelId="{A5D8FBF1-E023-4691-95B1-670C80592458}" type="sibTrans" cxnId="{AE28B754-9716-4836-ACAE-900401C4F22A}">
      <dgm:prSet/>
      <dgm:spPr/>
    </dgm:pt>
    <dgm:pt modelId="{F10802BF-526C-4A6A-A830-6A5E9DCE48B0}">
      <dgm:prSet phldr="0"/>
      <dgm:spPr/>
      <dgm:t>
        <a:bodyPr/>
        <a:lstStyle/>
        <a:p>
          <a:pPr rtl="0"/>
          <a:r>
            <a:rPr lang="en-US">
              <a:solidFill>
                <a:srgbClr val="595959"/>
              </a:solidFill>
              <a:latin typeface="Calibri"/>
              <a:cs typeface="Calibri"/>
            </a:rPr>
            <a:t>More diverse companies and institutions are achieving better performance</a:t>
          </a:r>
          <a:endParaRPr lang="en-US">
            <a:solidFill>
              <a:srgbClr val="595959"/>
            </a:solidFill>
            <a:latin typeface="Calibri Light" panose="020F0302020204030204"/>
          </a:endParaRPr>
        </a:p>
      </dgm:t>
    </dgm:pt>
    <dgm:pt modelId="{420D839C-2F7C-4700-BC0E-2B0B894BD635}" type="parTrans" cxnId="{72DDE361-3804-44A4-8C73-322949367219}">
      <dgm:prSet/>
      <dgm:spPr/>
    </dgm:pt>
    <dgm:pt modelId="{0CF8CB46-D6EC-4CF1-8AD1-2218AA23D84D}" type="sibTrans" cxnId="{72DDE361-3804-44A4-8C73-322949367219}">
      <dgm:prSet/>
      <dgm:spPr/>
    </dgm:pt>
    <dgm:pt modelId="{22BDAE1B-B391-4E85-8035-92B0D586C903}">
      <dgm:prSet phldr="0"/>
      <dgm:spPr/>
      <dgm:t>
        <a:bodyPr/>
        <a:lstStyle/>
        <a:p>
          <a:pPr rtl="0"/>
          <a:r>
            <a:rPr lang="en-US">
              <a:solidFill>
                <a:srgbClr val="595959"/>
              </a:solidFill>
              <a:latin typeface="Calibri"/>
              <a:cs typeface="Calibri"/>
            </a:rPr>
            <a:t>The relationship between diversity on executive teams and the likelihood of financial outperformance has strengthened over time</a:t>
          </a:r>
          <a:endParaRPr lang="en-US">
            <a:latin typeface="Calibri Light" panose="020F0302020204030204"/>
          </a:endParaRPr>
        </a:p>
      </dgm:t>
    </dgm:pt>
    <dgm:pt modelId="{4B8C4C2A-AE1D-4372-8135-3D8255A4D812}" type="parTrans" cxnId="{FFD637D0-5FA1-4EFE-BF8C-F51BB58A2BDF}">
      <dgm:prSet/>
      <dgm:spPr/>
    </dgm:pt>
    <dgm:pt modelId="{43DF6D79-B6B4-478A-B9D4-5EA9D2C3CA7B}" type="sibTrans" cxnId="{FFD637D0-5FA1-4EFE-BF8C-F51BB58A2BDF}">
      <dgm:prSet/>
      <dgm:spPr/>
    </dgm:pt>
    <dgm:pt modelId="{BA2398A8-9D35-4FF6-9A74-0D1CD5E0464B}" type="pres">
      <dgm:prSet presAssocID="{10DC03E3-9147-43DE-AD57-EBB93E93EB9D}" presName="linearFlow" presStyleCnt="0">
        <dgm:presLayoutVars>
          <dgm:dir/>
          <dgm:animLvl val="lvl"/>
          <dgm:resizeHandles val="exact"/>
        </dgm:presLayoutVars>
      </dgm:prSet>
      <dgm:spPr/>
    </dgm:pt>
    <dgm:pt modelId="{BA23BA9E-A1D9-457F-8A45-8DBFFC341BA1}" type="pres">
      <dgm:prSet presAssocID="{B9AEE7F5-1829-4D38-84E8-0F255CF88BD8}" presName="composite" presStyleCnt="0"/>
      <dgm:spPr/>
    </dgm:pt>
    <dgm:pt modelId="{F0BC1434-CA06-463F-921B-6ED571BABD94}" type="pres">
      <dgm:prSet presAssocID="{B9AEE7F5-1829-4D38-84E8-0F255CF88BD8}" presName="parentText" presStyleLbl="alignNode1" presStyleIdx="0" presStyleCnt="3">
        <dgm:presLayoutVars>
          <dgm:chMax val="1"/>
          <dgm:bulletEnabled val="1"/>
        </dgm:presLayoutVars>
      </dgm:prSet>
      <dgm:spPr/>
    </dgm:pt>
    <dgm:pt modelId="{2C0226F8-CDD7-4E8C-B68E-987C4EF6D8CE}" type="pres">
      <dgm:prSet presAssocID="{B9AEE7F5-1829-4D38-84E8-0F255CF88BD8}" presName="descendantText" presStyleLbl="alignAcc1" presStyleIdx="0" presStyleCnt="3">
        <dgm:presLayoutVars>
          <dgm:bulletEnabled val="1"/>
        </dgm:presLayoutVars>
      </dgm:prSet>
      <dgm:spPr/>
    </dgm:pt>
    <dgm:pt modelId="{E33E57CE-7C0F-46C1-95E0-F09BBDD5DABA}" type="pres">
      <dgm:prSet presAssocID="{C2A8BE69-E6AA-430C-9556-F535785D1B22}" presName="sp" presStyleCnt="0"/>
      <dgm:spPr/>
    </dgm:pt>
    <dgm:pt modelId="{847F06C7-51B2-4CD4-AED3-E09450F5F3EF}" type="pres">
      <dgm:prSet presAssocID="{A147DAB7-8D8D-464D-9175-AE263FCE4854}" presName="composite" presStyleCnt="0"/>
      <dgm:spPr/>
    </dgm:pt>
    <dgm:pt modelId="{3A327FB0-AA8C-4CC0-9717-A6E55CBD5823}" type="pres">
      <dgm:prSet presAssocID="{A147DAB7-8D8D-464D-9175-AE263FCE4854}" presName="parentText" presStyleLbl="alignNode1" presStyleIdx="1" presStyleCnt="3">
        <dgm:presLayoutVars>
          <dgm:chMax val="1"/>
          <dgm:bulletEnabled val="1"/>
        </dgm:presLayoutVars>
      </dgm:prSet>
      <dgm:spPr/>
    </dgm:pt>
    <dgm:pt modelId="{F590C850-3769-4E7A-B2B1-D67170F71233}" type="pres">
      <dgm:prSet presAssocID="{A147DAB7-8D8D-464D-9175-AE263FCE4854}" presName="descendantText" presStyleLbl="alignAcc1" presStyleIdx="1" presStyleCnt="3">
        <dgm:presLayoutVars>
          <dgm:bulletEnabled val="1"/>
        </dgm:presLayoutVars>
      </dgm:prSet>
      <dgm:spPr/>
    </dgm:pt>
    <dgm:pt modelId="{E467A2C7-FCFD-4E71-BF52-81C58ECF45BE}" type="pres">
      <dgm:prSet presAssocID="{5EEE7E37-0B94-4D73-90D8-3988925D4414}" presName="sp" presStyleCnt="0"/>
      <dgm:spPr/>
    </dgm:pt>
    <dgm:pt modelId="{72386FF2-E4F8-4E05-AFDF-944AC62C3AAA}" type="pres">
      <dgm:prSet presAssocID="{2AB3EECD-9F9A-4965-A1FA-FB607001164C}" presName="composite" presStyleCnt="0"/>
      <dgm:spPr/>
    </dgm:pt>
    <dgm:pt modelId="{E9AAE1AC-7273-4672-9001-4613BDED638D}" type="pres">
      <dgm:prSet presAssocID="{2AB3EECD-9F9A-4965-A1FA-FB607001164C}" presName="parentText" presStyleLbl="alignNode1" presStyleIdx="2" presStyleCnt="3">
        <dgm:presLayoutVars>
          <dgm:chMax val="1"/>
          <dgm:bulletEnabled val="1"/>
        </dgm:presLayoutVars>
      </dgm:prSet>
      <dgm:spPr/>
    </dgm:pt>
    <dgm:pt modelId="{FC4EC52E-5D55-4818-B09D-8DF4670C9317}" type="pres">
      <dgm:prSet presAssocID="{2AB3EECD-9F9A-4965-A1FA-FB607001164C}" presName="descendantText" presStyleLbl="alignAcc1" presStyleIdx="2" presStyleCnt="3">
        <dgm:presLayoutVars>
          <dgm:bulletEnabled val="1"/>
        </dgm:presLayoutVars>
      </dgm:prSet>
      <dgm:spPr/>
    </dgm:pt>
  </dgm:ptLst>
  <dgm:cxnLst>
    <dgm:cxn modelId="{E70A9004-3E1B-4D46-87F7-903D07D3D107}" type="presOf" srcId="{18EE1365-4805-42DD-B9E2-76A1411A1A4F}" destId="{FC4EC52E-5D55-4818-B09D-8DF4670C9317}" srcOrd="0" destOrd="0" presId="urn:microsoft.com/office/officeart/2005/8/layout/chevron2"/>
    <dgm:cxn modelId="{2B20C408-685C-4BF5-9B37-495D7C808064}" type="presOf" srcId="{F10802BF-526C-4A6A-A830-6A5E9DCE48B0}" destId="{FC4EC52E-5D55-4818-B09D-8DF4670C9317}" srcOrd="0" destOrd="1" presId="urn:microsoft.com/office/officeart/2005/8/layout/chevron2"/>
    <dgm:cxn modelId="{5EB2C62F-5CCF-4318-814A-9627745D385B}" type="presOf" srcId="{60DC7239-B0F6-455B-A3EC-E895A1186438}" destId="{F590C850-3769-4E7A-B2B1-D67170F71233}" srcOrd="0" destOrd="0" presId="urn:microsoft.com/office/officeart/2005/8/layout/chevron2"/>
    <dgm:cxn modelId="{BD69C230-C0F8-43D8-A908-8229C60F8FC8}" srcId="{10DC03E3-9147-43DE-AD57-EBB93E93EB9D}" destId="{A147DAB7-8D8D-464D-9175-AE263FCE4854}" srcOrd="1" destOrd="0" parTransId="{446B2CE3-40A5-4A67-BD39-45885923D8FC}" sibTransId="{5EEE7E37-0B94-4D73-90D8-3988925D4414}"/>
    <dgm:cxn modelId="{A8C76B36-4902-4FA3-AB64-2E46422E4176}" srcId="{B9AEE7F5-1829-4D38-84E8-0F255CF88BD8}" destId="{A22A780B-11D7-4FD4-9DF3-99BBAADDA6D7}" srcOrd="0" destOrd="0" parTransId="{3482162D-1670-42BA-8202-6FE015381AAF}" sibTransId="{134E497A-917C-4D61-A33E-C495B2558F5F}"/>
    <dgm:cxn modelId="{0485103D-F31E-415B-9EC3-E21053B4AFF3}" srcId="{10DC03E3-9147-43DE-AD57-EBB93E93EB9D}" destId="{2AB3EECD-9F9A-4965-A1FA-FB607001164C}" srcOrd="2" destOrd="0" parTransId="{0D1778C4-754A-430E-A080-A865874618B1}" sibTransId="{DF5B47FE-EEE4-4011-843D-9F2F27877B58}"/>
    <dgm:cxn modelId="{72DDE361-3804-44A4-8C73-322949367219}" srcId="{2AB3EECD-9F9A-4965-A1FA-FB607001164C}" destId="{F10802BF-526C-4A6A-A830-6A5E9DCE48B0}" srcOrd="1" destOrd="0" parTransId="{420D839C-2F7C-4700-BC0E-2B0B894BD635}" sibTransId="{0CF8CB46-D6EC-4CF1-8AD1-2218AA23D84D}"/>
    <dgm:cxn modelId="{D3960F73-D8E3-4C73-9532-EFFFE8C3D2ED}" type="presOf" srcId="{B9AEE7F5-1829-4D38-84E8-0F255CF88BD8}" destId="{F0BC1434-CA06-463F-921B-6ED571BABD94}" srcOrd="0" destOrd="0" presId="urn:microsoft.com/office/officeart/2005/8/layout/chevron2"/>
    <dgm:cxn modelId="{AE28B754-9716-4836-ACAE-900401C4F22A}" srcId="{2AB3EECD-9F9A-4965-A1FA-FB607001164C}" destId="{18EE1365-4805-42DD-B9E2-76A1411A1A4F}" srcOrd="0" destOrd="0" parTransId="{5DA0C70D-C936-4FD6-B8C1-72D35D52AB20}" sibTransId="{A5D8FBF1-E023-4691-95B1-670C80592458}"/>
    <dgm:cxn modelId="{93015D55-3AB3-4B50-A962-D3985EFFA77A}" type="presOf" srcId="{A147DAB7-8D8D-464D-9175-AE263FCE4854}" destId="{3A327FB0-AA8C-4CC0-9717-A6E55CBD5823}" srcOrd="0" destOrd="0" presId="urn:microsoft.com/office/officeart/2005/8/layout/chevron2"/>
    <dgm:cxn modelId="{F1DA187A-BCA9-4B29-BC5B-76258E6E2620}" srcId="{10DC03E3-9147-43DE-AD57-EBB93E93EB9D}" destId="{B9AEE7F5-1829-4D38-84E8-0F255CF88BD8}" srcOrd="0" destOrd="0" parTransId="{42443571-94F1-4D98-9760-53C8674B69AD}" sibTransId="{C2A8BE69-E6AA-430C-9556-F535785D1B22}"/>
    <dgm:cxn modelId="{89A24480-420F-4EBD-A167-28529472D1FC}" type="presOf" srcId="{10DC03E3-9147-43DE-AD57-EBB93E93EB9D}" destId="{BA2398A8-9D35-4FF6-9A74-0D1CD5E0464B}" srcOrd="0" destOrd="0" presId="urn:microsoft.com/office/officeart/2005/8/layout/chevron2"/>
    <dgm:cxn modelId="{31240C84-6C6B-428D-98E8-F08202813117}" type="presOf" srcId="{0CBED00C-F6F5-42F9-9EEA-2188B9571FC8}" destId="{F590C850-3769-4E7A-B2B1-D67170F71233}" srcOrd="0" destOrd="2" presId="urn:microsoft.com/office/officeart/2005/8/layout/chevron2"/>
    <dgm:cxn modelId="{5B12118E-43DD-410C-BE05-C7EA3C3B2FD3}" type="presOf" srcId="{22BDAE1B-B391-4E85-8035-92B0D586C903}" destId="{FC4EC52E-5D55-4818-B09D-8DF4670C9317}" srcOrd="0" destOrd="2" presId="urn:microsoft.com/office/officeart/2005/8/layout/chevron2"/>
    <dgm:cxn modelId="{BA7BAD93-A562-4A8D-B07F-3DC2EA420F54}" srcId="{A147DAB7-8D8D-464D-9175-AE263FCE4854}" destId="{60DC7239-B0F6-455B-A3EC-E895A1186438}" srcOrd="0" destOrd="0" parTransId="{CB84DA1C-4542-457E-B8A4-57F239F25241}" sibTransId="{0E38FD6B-E00F-4980-B4FE-5556764123BE}"/>
    <dgm:cxn modelId="{69E7BF9E-7B57-4128-879C-E936D8B7B704}" srcId="{A147DAB7-8D8D-464D-9175-AE263FCE4854}" destId="{0CBED00C-F6F5-42F9-9EEA-2188B9571FC8}" srcOrd="2" destOrd="0" parTransId="{35B59E90-9E41-4A21-85D8-C95B22357E6D}" sibTransId="{15B60F0F-0249-4348-8458-ECB022A321F4}"/>
    <dgm:cxn modelId="{F7C6D5B9-0C67-43AF-B8C0-15C483D3F097}" type="presOf" srcId="{A22A780B-11D7-4FD4-9DF3-99BBAADDA6D7}" destId="{2C0226F8-CDD7-4E8C-B68E-987C4EF6D8CE}" srcOrd="0" destOrd="0" presId="urn:microsoft.com/office/officeart/2005/8/layout/chevron2"/>
    <dgm:cxn modelId="{8A2302C3-E0AE-4720-B3E3-98A371F6DCE3}" type="presOf" srcId="{428FF249-EAA4-4363-B9CB-D1BD5A377518}" destId="{F590C850-3769-4E7A-B2B1-D67170F71233}" srcOrd="0" destOrd="1" presId="urn:microsoft.com/office/officeart/2005/8/layout/chevron2"/>
    <dgm:cxn modelId="{FFD637D0-5FA1-4EFE-BF8C-F51BB58A2BDF}" srcId="{2AB3EECD-9F9A-4965-A1FA-FB607001164C}" destId="{22BDAE1B-B391-4E85-8035-92B0D586C903}" srcOrd="2" destOrd="0" parTransId="{4B8C4C2A-AE1D-4372-8135-3D8255A4D812}" sibTransId="{43DF6D79-B6B4-478A-B9D4-5EA9D2C3CA7B}"/>
    <dgm:cxn modelId="{165AC4D2-7EDB-4795-96F6-5210CF476656}" type="presOf" srcId="{6108A500-4816-4A4F-B462-82D8EB6A84D3}" destId="{2C0226F8-CDD7-4E8C-B68E-987C4EF6D8CE}" srcOrd="0" destOrd="1" presId="urn:microsoft.com/office/officeart/2005/8/layout/chevron2"/>
    <dgm:cxn modelId="{757A59D7-FF07-4C4E-B2E6-A6B776BF962F}" type="presOf" srcId="{2AB3EECD-9F9A-4965-A1FA-FB607001164C}" destId="{E9AAE1AC-7273-4672-9001-4613BDED638D}" srcOrd="0" destOrd="0" presId="urn:microsoft.com/office/officeart/2005/8/layout/chevron2"/>
    <dgm:cxn modelId="{AC05DEE9-D8E9-4934-8EF5-C3B3184A29D6}" srcId="{B9AEE7F5-1829-4D38-84E8-0F255CF88BD8}" destId="{6108A500-4816-4A4F-B462-82D8EB6A84D3}" srcOrd="1" destOrd="0" parTransId="{419476F6-70CA-4C2E-8F57-33C9F72A80FF}" sibTransId="{0F45B9A3-2C9F-42AA-B971-FA5FD307F713}"/>
    <dgm:cxn modelId="{B446A2F9-EB0F-4955-ABE7-D12A2D666854}" srcId="{A147DAB7-8D8D-464D-9175-AE263FCE4854}" destId="{428FF249-EAA4-4363-B9CB-D1BD5A377518}" srcOrd="1" destOrd="0" parTransId="{67C4030F-428D-4F95-B20B-E190660451E3}" sibTransId="{D9D4B9FD-B2E5-41D0-B87E-8CB2776F60ED}"/>
    <dgm:cxn modelId="{38660BC0-128A-49DB-B11B-E771CE581050}" type="presParOf" srcId="{BA2398A8-9D35-4FF6-9A74-0D1CD5E0464B}" destId="{BA23BA9E-A1D9-457F-8A45-8DBFFC341BA1}" srcOrd="0" destOrd="0" presId="urn:microsoft.com/office/officeart/2005/8/layout/chevron2"/>
    <dgm:cxn modelId="{10A56160-FDC6-45D1-8510-66D6B1295087}" type="presParOf" srcId="{BA23BA9E-A1D9-457F-8A45-8DBFFC341BA1}" destId="{F0BC1434-CA06-463F-921B-6ED571BABD94}" srcOrd="0" destOrd="0" presId="urn:microsoft.com/office/officeart/2005/8/layout/chevron2"/>
    <dgm:cxn modelId="{F9FD39C9-2FDB-40A5-9A30-F36CA5A81070}" type="presParOf" srcId="{BA23BA9E-A1D9-457F-8A45-8DBFFC341BA1}" destId="{2C0226F8-CDD7-4E8C-B68E-987C4EF6D8CE}" srcOrd="1" destOrd="0" presId="urn:microsoft.com/office/officeart/2005/8/layout/chevron2"/>
    <dgm:cxn modelId="{31DDC4E2-9A1A-48DD-AC9E-384F82BE361A}" type="presParOf" srcId="{BA2398A8-9D35-4FF6-9A74-0D1CD5E0464B}" destId="{E33E57CE-7C0F-46C1-95E0-F09BBDD5DABA}" srcOrd="1" destOrd="0" presId="urn:microsoft.com/office/officeart/2005/8/layout/chevron2"/>
    <dgm:cxn modelId="{CADB0A89-C24F-49B4-9A58-6F46F7630E84}" type="presParOf" srcId="{BA2398A8-9D35-4FF6-9A74-0D1CD5E0464B}" destId="{847F06C7-51B2-4CD4-AED3-E09450F5F3EF}" srcOrd="2" destOrd="0" presId="urn:microsoft.com/office/officeart/2005/8/layout/chevron2"/>
    <dgm:cxn modelId="{F1AA1CE0-A4AF-4266-BD13-3008BB3ED5A8}" type="presParOf" srcId="{847F06C7-51B2-4CD4-AED3-E09450F5F3EF}" destId="{3A327FB0-AA8C-4CC0-9717-A6E55CBD5823}" srcOrd="0" destOrd="0" presId="urn:microsoft.com/office/officeart/2005/8/layout/chevron2"/>
    <dgm:cxn modelId="{6715920B-6F23-411A-BD1D-07F9BACCE65C}" type="presParOf" srcId="{847F06C7-51B2-4CD4-AED3-E09450F5F3EF}" destId="{F590C850-3769-4E7A-B2B1-D67170F71233}" srcOrd="1" destOrd="0" presId="urn:microsoft.com/office/officeart/2005/8/layout/chevron2"/>
    <dgm:cxn modelId="{F6698FAC-C137-4A5F-9A96-3AB70882F737}" type="presParOf" srcId="{BA2398A8-9D35-4FF6-9A74-0D1CD5E0464B}" destId="{E467A2C7-FCFD-4E71-BF52-81C58ECF45BE}" srcOrd="3" destOrd="0" presId="urn:microsoft.com/office/officeart/2005/8/layout/chevron2"/>
    <dgm:cxn modelId="{64D9DE09-91DE-4F9E-8B6D-9593D94BE565}" type="presParOf" srcId="{BA2398A8-9D35-4FF6-9A74-0D1CD5E0464B}" destId="{72386FF2-E4F8-4E05-AFDF-944AC62C3AAA}" srcOrd="4" destOrd="0" presId="urn:microsoft.com/office/officeart/2005/8/layout/chevron2"/>
    <dgm:cxn modelId="{7A0C1903-A63A-4DB0-B216-723525A9CA52}" type="presParOf" srcId="{72386FF2-E4F8-4E05-AFDF-944AC62C3AAA}" destId="{E9AAE1AC-7273-4672-9001-4613BDED638D}" srcOrd="0" destOrd="0" presId="urn:microsoft.com/office/officeart/2005/8/layout/chevron2"/>
    <dgm:cxn modelId="{CD589D54-FF59-4DB7-8052-5533E0EEDD64}" type="presParOf" srcId="{72386FF2-E4F8-4E05-AFDF-944AC62C3AAA}" destId="{FC4EC52E-5D55-4818-B09D-8DF4670C9317}"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63C19E7-6760-4D4B-B637-0EE4582CF6E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1D5C313-47A8-4F88-BCEB-D4CE8DF6F750}">
      <dgm:prSet phldrT="[Text]" phldr="0"/>
      <dgm:spPr/>
      <dgm:t>
        <a:bodyPr/>
        <a:lstStyle/>
        <a:p>
          <a:r>
            <a:rPr lang="en-US" b="0">
              <a:solidFill>
                <a:schemeClr val="bg1"/>
              </a:solidFill>
              <a:latin typeface="Calibri Light" panose="020F0302020204030204"/>
            </a:rPr>
            <a:t>Diversity</a:t>
          </a:r>
          <a:endParaRPr lang="en-US" b="0">
            <a:solidFill>
              <a:schemeClr val="bg1"/>
            </a:solidFill>
          </a:endParaRPr>
        </a:p>
      </dgm:t>
    </dgm:pt>
    <dgm:pt modelId="{5C299B28-3FAB-4018-990F-DE94DC7C5F92}" type="parTrans" cxnId="{BEBE0ECB-67C5-4698-9A10-7ADCD025AB77}">
      <dgm:prSet/>
      <dgm:spPr/>
      <dgm:t>
        <a:bodyPr/>
        <a:lstStyle/>
        <a:p>
          <a:endParaRPr lang="en-US"/>
        </a:p>
      </dgm:t>
    </dgm:pt>
    <dgm:pt modelId="{D54BEBB7-07CB-47FF-B11E-700ED42CC6B5}" type="sibTrans" cxnId="{BEBE0ECB-67C5-4698-9A10-7ADCD025AB77}">
      <dgm:prSet/>
      <dgm:spPr/>
      <dgm:t>
        <a:bodyPr/>
        <a:lstStyle/>
        <a:p>
          <a:endParaRPr lang="en-US"/>
        </a:p>
      </dgm:t>
    </dgm:pt>
    <dgm:pt modelId="{BB7BC265-0F43-45C1-AE86-288408687EF9}">
      <dgm:prSet phldrT="[Text]" phldr="0"/>
      <dgm:spPr/>
      <dgm:t>
        <a:bodyPr/>
        <a:lstStyle/>
        <a:p>
          <a:r>
            <a:rPr lang="en-US">
              <a:solidFill>
                <a:schemeClr val="bg1"/>
              </a:solidFill>
              <a:latin typeface="Calibri"/>
              <a:cs typeface="Calibri"/>
            </a:rPr>
            <a:t>Inclusion</a:t>
          </a:r>
          <a:endParaRPr lang="en-US">
            <a:solidFill>
              <a:schemeClr val="bg1"/>
            </a:solidFill>
          </a:endParaRPr>
        </a:p>
      </dgm:t>
    </dgm:pt>
    <dgm:pt modelId="{2391D4CC-F7D3-4860-BB62-FE99E94E3924}" type="parTrans" cxnId="{3D469D56-6D87-42A0-A2CF-E1DC294DD1DF}">
      <dgm:prSet/>
      <dgm:spPr/>
      <dgm:t>
        <a:bodyPr/>
        <a:lstStyle/>
        <a:p>
          <a:endParaRPr lang="en-US"/>
        </a:p>
      </dgm:t>
    </dgm:pt>
    <dgm:pt modelId="{5DB37B56-8745-45AA-8A32-F47A89F3DD2D}" type="sibTrans" cxnId="{3D469D56-6D87-42A0-A2CF-E1DC294DD1DF}">
      <dgm:prSet/>
      <dgm:spPr/>
      <dgm:t>
        <a:bodyPr/>
        <a:lstStyle/>
        <a:p>
          <a:endParaRPr lang="en-US"/>
        </a:p>
      </dgm:t>
    </dgm:pt>
    <dgm:pt modelId="{2BFA703E-57A9-40AA-B7FC-3A7FE45CA5EF}">
      <dgm:prSet phldrT="[Text]" phldr="0"/>
      <dgm:spPr/>
      <dgm:t>
        <a:bodyPr/>
        <a:lstStyle/>
        <a:p>
          <a:pPr rtl="0"/>
          <a:r>
            <a:rPr lang="en-US">
              <a:solidFill>
                <a:schemeClr val="accent6">
                  <a:lumMod val="50000"/>
                </a:schemeClr>
              </a:solidFill>
              <a:latin typeface="Calibri" panose="020F0502020204030204" pitchFamily="34" charset="0"/>
              <a:cs typeface="Calibri" panose="020F0502020204030204" pitchFamily="34" charset="0"/>
            </a:rPr>
            <a:t>Is a verb</a:t>
          </a:r>
        </a:p>
      </dgm:t>
    </dgm:pt>
    <dgm:pt modelId="{C053254D-E647-4083-A472-43996305DA76}" type="parTrans" cxnId="{7271735D-D929-4107-8C7F-046433DB0FB2}">
      <dgm:prSet/>
      <dgm:spPr/>
      <dgm:t>
        <a:bodyPr/>
        <a:lstStyle/>
        <a:p>
          <a:endParaRPr lang="en-US"/>
        </a:p>
      </dgm:t>
    </dgm:pt>
    <dgm:pt modelId="{4C665C89-1065-4086-B6D5-C744F3A40188}" type="sibTrans" cxnId="{7271735D-D929-4107-8C7F-046433DB0FB2}">
      <dgm:prSet/>
      <dgm:spPr/>
      <dgm:t>
        <a:bodyPr/>
        <a:lstStyle/>
        <a:p>
          <a:endParaRPr lang="en-US"/>
        </a:p>
      </dgm:t>
    </dgm:pt>
    <dgm:pt modelId="{E57689A5-2863-4FBF-AA3B-C89117AF6CE3}">
      <dgm:prSet phldr="0"/>
      <dgm:spPr/>
      <dgm:t>
        <a:bodyPr/>
        <a:lstStyle/>
        <a:p>
          <a:pPr rtl="0"/>
          <a:r>
            <a:rPr lang="en-US">
              <a:solidFill>
                <a:schemeClr val="accent6">
                  <a:lumMod val="50000"/>
                </a:schemeClr>
              </a:solidFill>
              <a:latin typeface="Calibri"/>
              <a:cs typeface="Calibri"/>
            </a:rPr>
            <a:t>Does not simply happen </a:t>
          </a:r>
          <a:endParaRPr lang="en-US">
            <a:solidFill>
              <a:schemeClr val="accent6">
                <a:lumMod val="50000"/>
              </a:schemeClr>
            </a:solidFill>
            <a:latin typeface="Calibri Light" panose="020F0302020204030204"/>
            <a:cs typeface="Calibri Light" panose="020F0302020204030204"/>
          </a:endParaRPr>
        </a:p>
      </dgm:t>
    </dgm:pt>
    <dgm:pt modelId="{87DAF5A6-044B-475D-B00E-05702D65400F}" type="parTrans" cxnId="{7422C794-EF8E-4254-AEED-96F742DA987A}">
      <dgm:prSet/>
      <dgm:spPr/>
      <dgm:t>
        <a:bodyPr/>
        <a:lstStyle/>
        <a:p>
          <a:endParaRPr lang="en-US"/>
        </a:p>
      </dgm:t>
    </dgm:pt>
    <dgm:pt modelId="{EC3F4D7D-95C3-47CD-8329-3D9E047F3896}" type="sibTrans" cxnId="{7422C794-EF8E-4254-AEED-96F742DA987A}">
      <dgm:prSet/>
      <dgm:spPr/>
      <dgm:t>
        <a:bodyPr/>
        <a:lstStyle/>
        <a:p>
          <a:endParaRPr lang="en-US"/>
        </a:p>
      </dgm:t>
    </dgm:pt>
    <dgm:pt modelId="{E1333707-F5E2-4DE0-A75D-74BB21BB8709}">
      <dgm:prSet phldr="0"/>
      <dgm:spPr/>
      <dgm:t>
        <a:bodyPr/>
        <a:lstStyle/>
        <a:p>
          <a:pPr rtl="0"/>
          <a:r>
            <a:rPr lang="en-US">
              <a:solidFill>
                <a:schemeClr val="accent6">
                  <a:lumMod val="50000"/>
                </a:schemeClr>
              </a:solidFill>
              <a:latin typeface="Calibri"/>
              <a:cs typeface="Calibri"/>
            </a:rPr>
            <a:t>It is best achieved through dedicated </a:t>
          </a:r>
          <a:r>
            <a:rPr lang="en-US" err="1">
              <a:solidFill>
                <a:schemeClr val="accent6">
                  <a:lumMod val="50000"/>
                </a:schemeClr>
              </a:solidFill>
              <a:latin typeface="Calibri"/>
              <a:cs typeface="Calibri"/>
            </a:rPr>
            <a:t>programmes</a:t>
          </a:r>
          <a:r>
            <a:rPr lang="en-US">
              <a:solidFill>
                <a:schemeClr val="accent6">
                  <a:lumMod val="50000"/>
                </a:schemeClr>
              </a:solidFill>
              <a:latin typeface="Calibri"/>
              <a:cs typeface="Calibri"/>
            </a:rPr>
            <a:t> that focus on specific goals</a:t>
          </a:r>
          <a:endParaRPr lang="en-US">
            <a:solidFill>
              <a:schemeClr val="accent6">
                <a:lumMod val="50000"/>
              </a:schemeClr>
            </a:solidFill>
            <a:latin typeface="Calibri Light" panose="020F0302020204030204"/>
          </a:endParaRPr>
        </a:p>
      </dgm:t>
    </dgm:pt>
    <dgm:pt modelId="{5F530E23-7FEE-49E7-86D6-0C606060F1AE}" type="parTrans" cxnId="{A9998034-6789-4999-8D82-53339CBF6E1A}">
      <dgm:prSet/>
      <dgm:spPr/>
      <dgm:t>
        <a:bodyPr/>
        <a:lstStyle/>
        <a:p>
          <a:endParaRPr lang="en-US"/>
        </a:p>
      </dgm:t>
    </dgm:pt>
    <dgm:pt modelId="{6D7D8F4C-2B40-456C-9F4C-48916D7BE9D5}" type="sibTrans" cxnId="{A9998034-6789-4999-8D82-53339CBF6E1A}">
      <dgm:prSet/>
      <dgm:spPr/>
      <dgm:t>
        <a:bodyPr/>
        <a:lstStyle/>
        <a:p>
          <a:endParaRPr lang="en-US"/>
        </a:p>
      </dgm:t>
    </dgm:pt>
    <dgm:pt modelId="{58C8E4C8-16EB-4012-8053-3171723A5726}">
      <dgm:prSet phldr="0"/>
      <dgm:spPr/>
      <dgm:t>
        <a:bodyPr/>
        <a:lstStyle/>
        <a:p>
          <a:pPr rtl="0"/>
          <a:r>
            <a:rPr lang="en-US">
              <a:solidFill>
                <a:schemeClr val="accent6">
                  <a:lumMod val="50000"/>
                </a:schemeClr>
              </a:solidFill>
              <a:latin typeface="Calibri"/>
              <a:cs typeface="Calibri"/>
            </a:rPr>
            <a:t>The majority needs to work to organise inclusion</a:t>
          </a:r>
          <a:endParaRPr lang="en-US">
            <a:solidFill>
              <a:schemeClr val="accent6">
                <a:lumMod val="50000"/>
              </a:schemeClr>
            </a:solidFill>
            <a:latin typeface="Calibri Light" panose="020F0302020204030204"/>
          </a:endParaRPr>
        </a:p>
      </dgm:t>
    </dgm:pt>
    <dgm:pt modelId="{4879F399-C5AA-4928-8408-8D642D25B42F}" type="parTrans" cxnId="{2DDC68BE-1E4D-4102-8114-2FA85EE7FF13}">
      <dgm:prSet/>
      <dgm:spPr/>
      <dgm:t>
        <a:bodyPr/>
        <a:lstStyle/>
        <a:p>
          <a:endParaRPr lang="en-US"/>
        </a:p>
      </dgm:t>
    </dgm:pt>
    <dgm:pt modelId="{6EFCEBEC-A709-4F49-8DC0-E1342F8591D1}" type="sibTrans" cxnId="{2DDC68BE-1E4D-4102-8114-2FA85EE7FF13}">
      <dgm:prSet/>
      <dgm:spPr/>
      <dgm:t>
        <a:bodyPr/>
        <a:lstStyle/>
        <a:p>
          <a:endParaRPr lang="en-US"/>
        </a:p>
      </dgm:t>
    </dgm:pt>
    <dgm:pt modelId="{E0734061-3FDC-463B-9F89-E81ECE5B2EF1}">
      <dgm:prSet phldr="0"/>
      <dgm:spPr/>
      <dgm:t>
        <a:bodyPr/>
        <a:lstStyle/>
        <a:p>
          <a:pPr rtl="0"/>
          <a:r>
            <a:rPr lang="en-US">
              <a:solidFill>
                <a:schemeClr val="bg1"/>
              </a:solidFill>
              <a:latin typeface="Calibri"/>
              <a:cs typeface="Calibri"/>
            </a:rPr>
            <a:t>To increase diversity and reach true inclusion</a:t>
          </a:r>
          <a:endParaRPr lang="en-US">
            <a:solidFill>
              <a:schemeClr val="bg1"/>
            </a:solidFill>
            <a:latin typeface="Calibri Light" panose="020F0302020204030204"/>
          </a:endParaRPr>
        </a:p>
      </dgm:t>
    </dgm:pt>
    <dgm:pt modelId="{11FA7C90-03F3-41AD-8504-80B27A2C30FD}" type="parTrans" cxnId="{DE8B8C03-EF28-4A98-B9B3-ADB226F1BC46}">
      <dgm:prSet/>
      <dgm:spPr/>
      <dgm:t>
        <a:bodyPr/>
        <a:lstStyle/>
        <a:p>
          <a:endParaRPr lang="en-US"/>
        </a:p>
      </dgm:t>
    </dgm:pt>
    <dgm:pt modelId="{7B9FBCD1-01BE-46CF-8236-924DA1C11F17}" type="sibTrans" cxnId="{DE8B8C03-EF28-4A98-B9B3-ADB226F1BC46}">
      <dgm:prSet/>
      <dgm:spPr/>
      <dgm:t>
        <a:bodyPr/>
        <a:lstStyle/>
        <a:p>
          <a:endParaRPr lang="en-US"/>
        </a:p>
      </dgm:t>
    </dgm:pt>
    <dgm:pt modelId="{1D9E2DB8-520F-4454-8F90-C67766BDBC15}">
      <dgm:prSet phldr="0"/>
      <dgm:spPr/>
      <dgm:t>
        <a:bodyPr/>
        <a:lstStyle/>
        <a:p>
          <a:pPr rtl="0"/>
          <a:r>
            <a:rPr lang="en-US">
              <a:solidFill>
                <a:schemeClr val="accent6">
                  <a:lumMod val="50000"/>
                </a:schemeClr>
              </a:solidFill>
              <a:latin typeface="Calibri"/>
              <a:cs typeface="Calibri"/>
            </a:rPr>
            <a:t>Actions should reflect the difference between “equality” and “equity”</a:t>
          </a:r>
          <a:r>
            <a:rPr lang="en-US">
              <a:solidFill>
                <a:srgbClr val="595959"/>
              </a:solidFill>
              <a:latin typeface="Calibri"/>
              <a:cs typeface="Calibri"/>
            </a:rPr>
            <a:t>  </a:t>
          </a:r>
          <a:endParaRPr lang="en-US">
            <a:latin typeface="Calibri Light" panose="020F0302020204030204"/>
          </a:endParaRPr>
        </a:p>
      </dgm:t>
    </dgm:pt>
    <dgm:pt modelId="{3400A3E6-D8E0-44F5-B8EF-6F6289E758D3}" type="parTrans" cxnId="{FD5193CC-77DA-43AE-BFDD-4647A3CFCFDD}">
      <dgm:prSet/>
      <dgm:spPr/>
      <dgm:t>
        <a:bodyPr/>
        <a:lstStyle/>
        <a:p>
          <a:endParaRPr lang="en-US"/>
        </a:p>
      </dgm:t>
    </dgm:pt>
    <dgm:pt modelId="{E27FD885-9DA4-4B3C-A522-D4DDBD9388B6}" type="sibTrans" cxnId="{FD5193CC-77DA-43AE-BFDD-4647A3CFCFDD}">
      <dgm:prSet/>
      <dgm:spPr/>
      <dgm:t>
        <a:bodyPr/>
        <a:lstStyle/>
        <a:p>
          <a:endParaRPr lang="en-US"/>
        </a:p>
      </dgm:t>
    </dgm:pt>
    <dgm:pt modelId="{E1AF563E-631F-4718-809F-B7064FA3ABE5}">
      <dgm:prSet phldr="0"/>
      <dgm:spPr/>
      <dgm:t>
        <a:bodyPr/>
        <a:lstStyle/>
        <a:p>
          <a:pPr rtl="0"/>
          <a:r>
            <a:rPr lang="en-US">
              <a:solidFill>
                <a:schemeClr val="accent6">
                  <a:lumMod val="50000"/>
                </a:schemeClr>
              </a:solidFill>
              <a:latin typeface="Calibri"/>
              <a:cs typeface="Calibri"/>
            </a:rPr>
            <a:t>Existing, systemic differences should be acknowledged </a:t>
          </a:r>
          <a:endParaRPr lang="en-US">
            <a:solidFill>
              <a:schemeClr val="accent6">
                <a:lumMod val="50000"/>
              </a:schemeClr>
            </a:solidFill>
            <a:latin typeface="Calibri Light" panose="020F0302020204030204"/>
          </a:endParaRPr>
        </a:p>
      </dgm:t>
    </dgm:pt>
    <dgm:pt modelId="{0C95FE9C-C26C-4AC5-ABCE-C7622135918C}" type="parTrans" cxnId="{9F841A7A-E3E5-4B39-9A36-736B5D5B93E0}">
      <dgm:prSet/>
      <dgm:spPr/>
      <dgm:t>
        <a:bodyPr/>
        <a:lstStyle/>
        <a:p>
          <a:endParaRPr lang="en-US"/>
        </a:p>
      </dgm:t>
    </dgm:pt>
    <dgm:pt modelId="{3338242E-84D0-4763-8D70-D1637BAC4A6C}" type="sibTrans" cxnId="{9F841A7A-E3E5-4B39-9A36-736B5D5B93E0}">
      <dgm:prSet/>
      <dgm:spPr/>
      <dgm:t>
        <a:bodyPr/>
        <a:lstStyle/>
        <a:p>
          <a:endParaRPr lang="en-US"/>
        </a:p>
      </dgm:t>
    </dgm:pt>
    <dgm:pt modelId="{DC2E6853-B53F-4E54-9EEC-2C756A154972}">
      <dgm:prSet phldr="0"/>
      <dgm:spPr/>
      <dgm:t>
        <a:bodyPr/>
        <a:lstStyle/>
        <a:p>
          <a:pPr rtl="0"/>
          <a:r>
            <a:rPr lang="en-US">
              <a:solidFill>
                <a:schemeClr val="accent6">
                  <a:lumMod val="50000"/>
                </a:schemeClr>
              </a:solidFill>
              <a:latin typeface="Calibri"/>
              <a:cs typeface="Calibri"/>
            </a:rPr>
            <a:t>The principle of “fairness”, implying equal treatment above all, will slow down or stop progress </a:t>
          </a:r>
          <a:endParaRPr lang="en-US">
            <a:solidFill>
              <a:schemeClr val="accent6">
                <a:lumMod val="50000"/>
              </a:schemeClr>
            </a:solidFill>
            <a:latin typeface="Calibri Light" panose="020F0302020204030204"/>
          </a:endParaRPr>
        </a:p>
      </dgm:t>
    </dgm:pt>
    <dgm:pt modelId="{31BC5A4C-797F-4BE2-A91B-9D27D77BBA12}" type="parTrans" cxnId="{AE16E753-DDF1-4B98-8386-023ACC8680D0}">
      <dgm:prSet/>
      <dgm:spPr/>
      <dgm:t>
        <a:bodyPr/>
        <a:lstStyle/>
        <a:p>
          <a:endParaRPr lang="en-US"/>
        </a:p>
      </dgm:t>
    </dgm:pt>
    <dgm:pt modelId="{6F1A1782-CBE0-44E5-BB66-C2AAC2C8BD86}" type="sibTrans" cxnId="{AE16E753-DDF1-4B98-8386-023ACC8680D0}">
      <dgm:prSet/>
      <dgm:spPr/>
      <dgm:t>
        <a:bodyPr/>
        <a:lstStyle/>
        <a:p>
          <a:endParaRPr lang="en-US"/>
        </a:p>
      </dgm:t>
    </dgm:pt>
    <dgm:pt modelId="{AC95E79D-6BCC-4210-B935-AC16EF538706}">
      <dgm:prSet phldr="0"/>
      <dgm:spPr/>
      <dgm:t>
        <a:bodyPr/>
        <a:lstStyle/>
        <a:p>
          <a:pPr rtl="0"/>
          <a:r>
            <a:rPr lang="en-US">
              <a:solidFill>
                <a:schemeClr val="accent6">
                  <a:lumMod val="50000"/>
                </a:schemeClr>
              </a:solidFill>
              <a:latin typeface="Calibri"/>
              <a:cs typeface="Calibri"/>
            </a:rPr>
            <a:t>To change perceptions exactly on this point as the “equal, impartial treatment paradigm” exists within organisations</a:t>
          </a:r>
          <a:endParaRPr lang="en-US">
            <a:solidFill>
              <a:schemeClr val="accent6">
                <a:lumMod val="50000"/>
              </a:schemeClr>
            </a:solidFill>
            <a:latin typeface="Calibri Light" panose="020F0302020204030204"/>
          </a:endParaRPr>
        </a:p>
      </dgm:t>
    </dgm:pt>
    <dgm:pt modelId="{5212FFDB-81BB-460D-9695-54DA7AA1536F}" type="parTrans" cxnId="{A13EDE1E-D0F8-43C5-8598-A2BD92200C6C}">
      <dgm:prSet/>
      <dgm:spPr/>
      <dgm:t>
        <a:bodyPr/>
        <a:lstStyle/>
        <a:p>
          <a:endParaRPr lang="en-US"/>
        </a:p>
      </dgm:t>
    </dgm:pt>
    <dgm:pt modelId="{2EE56A6E-3805-4E9A-B5DA-8506FDE95C29}" type="sibTrans" cxnId="{A13EDE1E-D0F8-43C5-8598-A2BD92200C6C}">
      <dgm:prSet/>
      <dgm:spPr/>
      <dgm:t>
        <a:bodyPr/>
        <a:lstStyle/>
        <a:p>
          <a:endParaRPr lang="en-US"/>
        </a:p>
      </dgm:t>
    </dgm:pt>
    <dgm:pt modelId="{64CC350D-89C2-4E48-981D-CB0EBED6501C}" type="pres">
      <dgm:prSet presAssocID="{F63C19E7-6760-4D4B-B637-0EE4582CF6E6}" presName="Name0" presStyleCnt="0">
        <dgm:presLayoutVars>
          <dgm:dir/>
          <dgm:animLvl val="lvl"/>
          <dgm:resizeHandles val="exact"/>
        </dgm:presLayoutVars>
      </dgm:prSet>
      <dgm:spPr/>
    </dgm:pt>
    <dgm:pt modelId="{11D26A78-8C24-4571-88D6-B909080E7DEB}" type="pres">
      <dgm:prSet presAssocID="{B1D5C313-47A8-4F88-BCEB-D4CE8DF6F750}" presName="composite" presStyleCnt="0"/>
      <dgm:spPr/>
    </dgm:pt>
    <dgm:pt modelId="{1327BBFE-4323-461F-BDAC-AE86AC51B7A9}" type="pres">
      <dgm:prSet presAssocID="{B1D5C313-47A8-4F88-BCEB-D4CE8DF6F750}" presName="parTx" presStyleLbl="alignNode1" presStyleIdx="0" presStyleCnt="3">
        <dgm:presLayoutVars>
          <dgm:chMax val="0"/>
          <dgm:chPref val="0"/>
          <dgm:bulletEnabled val="1"/>
        </dgm:presLayoutVars>
      </dgm:prSet>
      <dgm:spPr/>
    </dgm:pt>
    <dgm:pt modelId="{37F120EA-E423-4EB7-A95E-3F92FBBBF4D9}" type="pres">
      <dgm:prSet presAssocID="{B1D5C313-47A8-4F88-BCEB-D4CE8DF6F750}" presName="desTx" presStyleLbl="alignAccFollowNode1" presStyleIdx="0" presStyleCnt="3">
        <dgm:presLayoutVars>
          <dgm:bulletEnabled val="1"/>
        </dgm:presLayoutVars>
      </dgm:prSet>
      <dgm:spPr/>
    </dgm:pt>
    <dgm:pt modelId="{79FD727D-B162-404E-8186-E118E92D22C4}" type="pres">
      <dgm:prSet presAssocID="{D54BEBB7-07CB-47FF-B11E-700ED42CC6B5}" presName="space" presStyleCnt="0"/>
      <dgm:spPr/>
    </dgm:pt>
    <dgm:pt modelId="{F9770359-C57F-406A-8435-6F4D0ED3A826}" type="pres">
      <dgm:prSet presAssocID="{BB7BC265-0F43-45C1-AE86-288408687EF9}" presName="composite" presStyleCnt="0"/>
      <dgm:spPr/>
    </dgm:pt>
    <dgm:pt modelId="{A32864D8-C6D9-4A6B-A7E9-CE74AF296890}" type="pres">
      <dgm:prSet presAssocID="{BB7BC265-0F43-45C1-AE86-288408687EF9}" presName="parTx" presStyleLbl="alignNode1" presStyleIdx="1" presStyleCnt="3">
        <dgm:presLayoutVars>
          <dgm:chMax val="0"/>
          <dgm:chPref val="0"/>
          <dgm:bulletEnabled val="1"/>
        </dgm:presLayoutVars>
      </dgm:prSet>
      <dgm:spPr/>
    </dgm:pt>
    <dgm:pt modelId="{60339E00-5B45-4DE2-BC54-31405C026260}" type="pres">
      <dgm:prSet presAssocID="{BB7BC265-0F43-45C1-AE86-288408687EF9}" presName="desTx" presStyleLbl="alignAccFollowNode1" presStyleIdx="1" presStyleCnt="3">
        <dgm:presLayoutVars>
          <dgm:bulletEnabled val="1"/>
        </dgm:presLayoutVars>
      </dgm:prSet>
      <dgm:spPr/>
    </dgm:pt>
    <dgm:pt modelId="{2A6EBA4B-C906-4E14-9474-90C59B9C24D3}" type="pres">
      <dgm:prSet presAssocID="{5DB37B56-8745-45AA-8A32-F47A89F3DD2D}" presName="space" presStyleCnt="0"/>
      <dgm:spPr/>
    </dgm:pt>
    <dgm:pt modelId="{CF81DFB8-D603-45E9-8976-638D471BF9D5}" type="pres">
      <dgm:prSet presAssocID="{E0734061-3FDC-463B-9F89-E81ECE5B2EF1}" presName="composite" presStyleCnt="0"/>
      <dgm:spPr/>
    </dgm:pt>
    <dgm:pt modelId="{C20A59E3-A54A-45C5-B072-85968AD28D7E}" type="pres">
      <dgm:prSet presAssocID="{E0734061-3FDC-463B-9F89-E81ECE5B2EF1}" presName="parTx" presStyleLbl="alignNode1" presStyleIdx="2" presStyleCnt="3">
        <dgm:presLayoutVars>
          <dgm:chMax val="0"/>
          <dgm:chPref val="0"/>
          <dgm:bulletEnabled val="1"/>
        </dgm:presLayoutVars>
      </dgm:prSet>
      <dgm:spPr/>
    </dgm:pt>
    <dgm:pt modelId="{13434405-AE60-4DF6-B5DE-DB31DD798192}" type="pres">
      <dgm:prSet presAssocID="{E0734061-3FDC-463B-9F89-E81ECE5B2EF1}" presName="desTx" presStyleLbl="alignAccFollowNode1" presStyleIdx="2" presStyleCnt="3">
        <dgm:presLayoutVars>
          <dgm:bulletEnabled val="1"/>
        </dgm:presLayoutVars>
      </dgm:prSet>
      <dgm:spPr/>
    </dgm:pt>
  </dgm:ptLst>
  <dgm:cxnLst>
    <dgm:cxn modelId="{DE8B8C03-EF28-4A98-B9B3-ADB226F1BC46}" srcId="{F63C19E7-6760-4D4B-B637-0EE4582CF6E6}" destId="{E0734061-3FDC-463B-9F89-E81ECE5B2EF1}" srcOrd="2" destOrd="0" parTransId="{11FA7C90-03F3-41AD-8504-80B27A2C30FD}" sibTransId="{7B9FBCD1-01BE-46CF-8236-924DA1C11F17}"/>
    <dgm:cxn modelId="{86685D19-166E-4B1C-AD28-ACCBF28044FE}" type="presOf" srcId="{DC2E6853-B53F-4E54-9EEC-2C756A154972}" destId="{13434405-AE60-4DF6-B5DE-DB31DD798192}" srcOrd="0" destOrd="2" presId="urn:microsoft.com/office/officeart/2005/8/layout/hList1"/>
    <dgm:cxn modelId="{A13EDE1E-D0F8-43C5-8598-A2BD92200C6C}" srcId="{E0734061-3FDC-463B-9F89-E81ECE5B2EF1}" destId="{AC95E79D-6BCC-4210-B935-AC16EF538706}" srcOrd="3" destOrd="0" parTransId="{5212FFDB-81BB-460D-9695-54DA7AA1536F}" sibTransId="{2EE56A6E-3805-4E9A-B5DA-8506FDE95C29}"/>
    <dgm:cxn modelId="{CFEDFA1F-05D0-428D-89DC-BB61D5791F5E}" type="presOf" srcId="{E1AF563E-631F-4718-809F-B7064FA3ABE5}" destId="{13434405-AE60-4DF6-B5DE-DB31DD798192}" srcOrd="0" destOrd="1" presId="urn:microsoft.com/office/officeart/2005/8/layout/hList1"/>
    <dgm:cxn modelId="{A9998034-6789-4999-8D82-53339CBF6E1A}" srcId="{B1D5C313-47A8-4F88-BCEB-D4CE8DF6F750}" destId="{E1333707-F5E2-4DE0-A75D-74BB21BB8709}" srcOrd="1" destOrd="0" parTransId="{5F530E23-7FEE-49E7-86D6-0C606060F1AE}" sibTransId="{6D7D8F4C-2B40-456C-9F4C-48916D7BE9D5}"/>
    <dgm:cxn modelId="{7271735D-D929-4107-8C7F-046433DB0FB2}" srcId="{BB7BC265-0F43-45C1-AE86-288408687EF9}" destId="{2BFA703E-57A9-40AA-B7FC-3A7FE45CA5EF}" srcOrd="0" destOrd="0" parTransId="{C053254D-E647-4083-A472-43996305DA76}" sibTransId="{4C665C89-1065-4086-B6D5-C744F3A40188}"/>
    <dgm:cxn modelId="{AE16E753-DDF1-4B98-8386-023ACC8680D0}" srcId="{E0734061-3FDC-463B-9F89-E81ECE5B2EF1}" destId="{DC2E6853-B53F-4E54-9EEC-2C756A154972}" srcOrd="2" destOrd="0" parTransId="{31BC5A4C-797F-4BE2-A91B-9D27D77BBA12}" sibTransId="{6F1A1782-CBE0-44E5-BB66-C2AAC2C8BD86}"/>
    <dgm:cxn modelId="{69201B54-11C3-4767-956D-6D3642E7A4D7}" type="presOf" srcId="{E1333707-F5E2-4DE0-A75D-74BB21BB8709}" destId="{37F120EA-E423-4EB7-A95E-3F92FBBBF4D9}" srcOrd="0" destOrd="1" presId="urn:microsoft.com/office/officeart/2005/8/layout/hList1"/>
    <dgm:cxn modelId="{3D469D56-6D87-42A0-A2CF-E1DC294DD1DF}" srcId="{F63C19E7-6760-4D4B-B637-0EE4582CF6E6}" destId="{BB7BC265-0F43-45C1-AE86-288408687EF9}" srcOrd="1" destOrd="0" parTransId="{2391D4CC-F7D3-4860-BB62-FE99E94E3924}" sibTransId="{5DB37B56-8745-45AA-8A32-F47A89F3DD2D}"/>
    <dgm:cxn modelId="{9F841A7A-E3E5-4B39-9A36-736B5D5B93E0}" srcId="{E0734061-3FDC-463B-9F89-E81ECE5B2EF1}" destId="{E1AF563E-631F-4718-809F-B7064FA3ABE5}" srcOrd="1" destOrd="0" parTransId="{0C95FE9C-C26C-4AC5-ABCE-C7622135918C}" sibTransId="{3338242E-84D0-4763-8D70-D1637BAC4A6C}"/>
    <dgm:cxn modelId="{E7C9D881-5A6C-4AD2-BF28-697DDE464C24}" type="presOf" srcId="{1D9E2DB8-520F-4454-8F90-C67766BDBC15}" destId="{13434405-AE60-4DF6-B5DE-DB31DD798192}" srcOrd="0" destOrd="0" presId="urn:microsoft.com/office/officeart/2005/8/layout/hList1"/>
    <dgm:cxn modelId="{AB9C6F8E-DA1B-42D0-B02B-0539D14BDD81}" type="presOf" srcId="{F63C19E7-6760-4D4B-B637-0EE4582CF6E6}" destId="{64CC350D-89C2-4E48-981D-CB0EBED6501C}" srcOrd="0" destOrd="0" presId="urn:microsoft.com/office/officeart/2005/8/layout/hList1"/>
    <dgm:cxn modelId="{7422C794-EF8E-4254-AEED-96F742DA987A}" srcId="{B1D5C313-47A8-4F88-BCEB-D4CE8DF6F750}" destId="{E57689A5-2863-4FBF-AA3B-C89117AF6CE3}" srcOrd="0" destOrd="0" parTransId="{87DAF5A6-044B-475D-B00E-05702D65400F}" sibTransId="{EC3F4D7D-95C3-47CD-8329-3D9E047F3896}"/>
    <dgm:cxn modelId="{4C113198-9F6D-451B-BB5E-EB153BA5122F}" type="presOf" srcId="{B1D5C313-47A8-4F88-BCEB-D4CE8DF6F750}" destId="{1327BBFE-4323-461F-BDAC-AE86AC51B7A9}" srcOrd="0" destOrd="0" presId="urn:microsoft.com/office/officeart/2005/8/layout/hList1"/>
    <dgm:cxn modelId="{F1AFB69F-FABE-46D6-9AD2-4965906DC77A}" type="presOf" srcId="{BB7BC265-0F43-45C1-AE86-288408687EF9}" destId="{A32864D8-C6D9-4A6B-A7E9-CE74AF296890}" srcOrd="0" destOrd="0" presId="urn:microsoft.com/office/officeart/2005/8/layout/hList1"/>
    <dgm:cxn modelId="{F06229B3-6D22-463E-90E7-CDC5C5BBACCC}" type="presOf" srcId="{2BFA703E-57A9-40AA-B7FC-3A7FE45CA5EF}" destId="{60339E00-5B45-4DE2-BC54-31405C026260}" srcOrd="0" destOrd="0" presId="urn:microsoft.com/office/officeart/2005/8/layout/hList1"/>
    <dgm:cxn modelId="{68F1D1B7-FB49-4166-8129-1E1CB27167C4}" type="presOf" srcId="{E0734061-3FDC-463B-9F89-E81ECE5B2EF1}" destId="{C20A59E3-A54A-45C5-B072-85968AD28D7E}" srcOrd="0" destOrd="0" presId="urn:microsoft.com/office/officeart/2005/8/layout/hList1"/>
    <dgm:cxn modelId="{2DDC68BE-1E4D-4102-8114-2FA85EE7FF13}" srcId="{BB7BC265-0F43-45C1-AE86-288408687EF9}" destId="{58C8E4C8-16EB-4012-8053-3171723A5726}" srcOrd="1" destOrd="0" parTransId="{4879F399-C5AA-4928-8408-8D642D25B42F}" sibTransId="{6EFCEBEC-A709-4F49-8DC0-E1342F8591D1}"/>
    <dgm:cxn modelId="{00332CC8-499E-4DD5-B272-D388DAFC3031}" type="presOf" srcId="{58C8E4C8-16EB-4012-8053-3171723A5726}" destId="{60339E00-5B45-4DE2-BC54-31405C026260}" srcOrd="0" destOrd="1" presId="urn:microsoft.com/office/officeart/2005/8/layout/hList1"/>
    <dgm:cxn modelId="{BEBE0ECB-67C5-4698-9A10-7ADCD025AB77}" srcId="{F63C19E7-6760-4D4B-B637-0EE4582CF6E6}" destId="{B1D5C313-47A8-4F88-BCEB-D4CE8DF6F750}" srcOrd="0" destOrd="0" parTransId="{5C299B28-3FAB-4018-990F-DE94DC7C5F92}" sibTransId="{D54BEBB7-07CB-47FF-B11E-700ED42CC6B5}"/>
    <dgm:cxn modelId="{FD5193CC-77DA-43AE-BFDD-4647A3CFCFDD}" srcId="{E0734061-3FDC-463B-9F89-E81ECE5B2EF1}" destId="{1D9E2DB8-520F-4454-8F90-C67766BDBC15}" srcOrd="0" destOrd="0" parTransId="{3400A3E6-D8E0-44F5-B8EF-6F6289E758D3}" sibTransId="{E27FD885-9DA4-4B3C-A522-D4DDBD9388B6}"/>
    <dgm:cxn modelId="{701AE5DA-7684-4FAA-8ADB-B6BDF4FC3563}" type="presOf" srcId="{E57689A5-2863-4FBF-AA3B-C89117AF6CE3}" destId="{37F120EA-E423-4EB7-A95E-3F92FBBBF4D9}" srcOrd="0" destOrd="0" presId="urn:microsoft.com/office/officeart/2005/8/layout/hList1"/>
    <dgm:cxn modelId="{C3119BDE-9DC9-420D-8B3F-97FD658376EA}" type="presOf" srcId="{AC95E79D-6BCC-4210-B935-AC16EF538706}" destId="{13434405-AE60-4DF6-B5DE-DB31DD798192}" srcOrd="0" destOrd="3" presId="urn:microsoft.com/office/officeart/2005/8/layout/hList1"/>
    <dgm:cxn modelId="{C86AF6DD-F986-4087-9E85-CFCA6B1895D6}" type="presParOf" srcId="{64CC350D-89C2-4E48-981D-CB0EBED6501C}" destId="{11D26A78-8C24-4571-88D6-B909080E7DEB}" srcOrd="0" destOrd="0" presId="urn:microsoft.com/office/officeart/2005/8/layout/hList1"/>
    <dgm:cxn modelId="{DA865DF0-0058-400C-90E1-5F305A53AE23}" type="presParOf" srcId="{11D26A78-8C24-4571-88D6-B909080E7DEB}" destId="{1327BBFE-4323-461F-BDAC-AE86AC51B7A9}" srcOrd="0" destOrd="0" presId="urn:microsoft.com/office/officeart/2005/8/layout/hList1"/>
    <dgm:cxn modelId="{892486AB-83E0-4A66-AC53-32C78F9A4B15}" type="presParOf" srcId="{11D26A78-8C24-4571-88D6-B909080E7DEB}" destId="{37F120EA-E423-4EB7-A95E-3F92FBBBF4D9}" srcOrd="1" destOrd="0" presId="urn:microsoft.com/office/officeart/2005/8/layout/hList1"/>
    <dgm:cxn modelId="{40C3DDFC-E0F7-4141-A5EC-A37EC964A558}" type="presParOf" srcId="{64CC350D-89C2-4E48-981D-CB0EBED6501C}" destId="{79FD727D-B162-404E-8186-E118E92D22C4}" srcOrd="1" destOrd="0" presId="urn:microsoft.com/office/officeart/2005/8/layout/hList1"/>
    <dgm:cxn modelId="{D5AEBDF9-99B1-4EBF-AA99-1AA8DB80591F}" type="presParOf" srcId="{64CC350D-89C2-4E48-981D-CB0EBED6501C}" destId="{F9770359-C57F-406A-8435-6F4D0ED3A826}" srcOrd="2" destOrd="0" presId="urn:microsoft.com/office/officeart/2005/8/layout/hList1"/>
    <dgm:cxn modelId="{44E8F997-C7DA-4B75-941A-620342D43F47}" type="presParOf" srcId="{F9770359-C57F-406A-8435-6F4D0ED3A826}" destId="{A32864D8-C6D9-4A6B-A7E9-CE74AF296890}" srcOrd="0" destOrd="0" presId="urn:microsoft.com/office/officeart/2005/8/layout/hList1"/>
    <dgm:cxn modelId="{5EBB8FC4-A44B-4398-974E-19F1B1D90238}" type="presParOf" srcId="{F9770359-C57F-406A-8435-6F4D0ED3A826}" destId="{60339E00-5B45-4DE2-BC54-31405C026260}" srcOrd="1" destOrd="0" presId="urn:microsoft.com/office/officeart/2005/8/layout/hList1"/>
    <dgm:cxn modelId="{C2C495B1-5C97-4F01-A126-8C35ABA35FFD}" type="presParOf" srcId="{64CC350D-89C2-4E48-981D-CB0EBED6501C}" destId="{2A6EBA4B-C906-4E14-9474-90C59B9C24D3}" srcOrd="3" destOrd="0" presId="urn:microsoft.com/office/officeart/2005/8/layout/hList1"/>
    <dgm:cxn modelId="{353EB274-3DC3-44E2-AE38-174D5A5D424D}" type="presParOf" srcId="{64CC350D-89C2-4E48-981D-CB0EBED6501C}" destId="{CF81DFB8-D603-45E9-8976-638D471BF9D5}" srcOrd="4" destOrd="0" presId="urn:microsoft.com/office/officeart/2005/8/layout/hList1"/>
    <dgm:cxn modelId="{E04A2D6C-AB2B-4ACB-9787-4D31E6F0B853}" type="presParOf" srcId="{CF81DFB8-D603-45E9-8976-638D471BF9D5}" destId="{C20A59E3-A54A-45C5-B072-85968AD28D7E}" srcOrd="0" destOrd="0" presId="urn:microsoft.com/office/officeart/2005/8/layout/hList1"/>
    <dgm:cxn modelId="{F175472F-772F-43E7-90F5-B041D0ABA17F}" type="presParOf" srcId="{CF81DFB8-D603-45E9-8976-638D471BF9D5}" destId="{13434405-AE60-4DF6-B5DE-DB31DD79819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3492AC8-7B69-4B31-9FD2-88F8E9E2162F}"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C5632283-2ECB-4CB2-905D-817403583C41}">
      <dgm:prSet phldrT="[Text]" custT="1"/>
      <dgm:spPr/>
      <dgm:t>
        <a:bodyPr/>
        <a:lstStyle/>
        <a:p>
          <a:pPr rtl="0"/>
          <a:r>
            <a:rPr lang="fr-BE" sz="1800" err="1"/>
            <a:t>Lack</a:t>
          </a:r>
          <a:r>
            <a:rPr lang="fr-BE" sz="1800"/>
            <a:t> of </a:t>
          </a:r>
          <a:r>
            <a:rPr lang="fr-BE" sz="1800" err="1"/>
            <a:t>internal</a:t>
          </a:r>
          <a:r>
            <a:rPr lang="fr-BE" sz="1800"/>
            <a:t> </a:t>
          </a:r>
          <a:r>
            <a:rPr lang="fr-BE" sz="1800" err="1"/>
            <a:t>competence</a:t>
          </a:r>
          <a:r>
            <a:rPr lang="fr-BE" sz="1800"/>
            <a:t> – Training </a:t>
          </a:r>
          <a:r>
            <a:rPr lang="fr-BE" sz="1800" err="1"/>
            <a:t>with</a:t>
          </a:r>
          <a:r>
            <a:rPr lang="fr-BE" sz="1800"/>
            <a:t> ILO on </a:t>
          </a:r>
          <a:r>
            <a:rPr lang="fr-BE" sz="1800" err="1"/>
            <a:t>Participatory</a:t>
          </a:r>
          <a:r>
            <a:rPr lang="fr-BE" sz="1800"/>
            <a:t> </a:t>
          </a:r>
          <a:r>
            <a:rPr lang="fr-BE" sz="1800" err="1"/>
            <a:t>Gender</a:t>
          </a:r>
          <a:r>
            <a:rPr lang="fr-BE" sz="1800">
              <a:latin typeface="Calibri Light" panose="020F0302020204030204"/>
            </a:rPr>
            <a:t> Audit</a:t>
          </a:r>
          <a:r>
            <a:rPr lang="fr-BE" sz="1800"/>
            <a:t> in 2021</a:t>
          </a:r>
          <a:endParaRPr lang="en-GB" sz="1800"/>
        </a:p>
      </dgm:t>
    </dgm:pt>
    <dgm:pt modelId="{E8F36D77-FFA2-459B-AC18-532AB54A8212}" type="parTrans" cxnId="{0D9F7188-28DA-4CBF-984F-66F6613EBF3C}">
      <dgm:prSet/>
      <dgm:spPr/>
      <dgm:t>
        <a:bodyPr/>
        <a:lstStyle/>
        <a:p>
          <a:endParaRPr lang="en-GB"/>
        </a:p>
      </dgm:t>
    </dgm:pt>
    <dgm:pt modelId="{871A9B81-3211-4C50-A0D1-A189F4EA9018}" type="sibTrans" cxnId="{0D9F7188-28DA-4CBF-984F-66F6613EBF3C}">
      <dgm:prSet/>
      <dgm:spPr/>
      <dgm:t>
        <a:bodyPr/>
        <a:lstStyle/>
        <a:p>
          <a:endParaRPr lang="en-GB"/>
        </a:p>
      </dgm:t>
    </dgm:pt>
    <dgm:pt modelId="{CA94226A-1510-40FE-915A-DD0B6EC42216}">
      <dgm:prSet phldrT="[Text]" custT="1"/>
      <dgm:spPr/>
      <dgm:t>
        <a:bodyPr/>
        <a:lstStyle/>
        <a:p>
          <a:r>
            <a:rPr lang="fr-BE" sz="1800"/>
            <a:t>Collection of relevant documents and desk </a:t>
          </a:r>
          <a:r>
            <a:rPr lang="fr-BE" sz="1800" err="1"/>
            <a:t>review</a:t>
          </a:r>
          <a:r>
            <a:rPr lang="fr-BE" sz="1800"/>
            <a:t> in </a:t>
          </a:r>
          <a:r>
            <a:rPr lang="fr-BE" sz="1800" err="1"/>
            <a:t>September</a:t>
          </a:r>
          <a:r>
            <a:rPr lang="fr-BE" sz="1800"/>
            <a:t> 2022</a:t>
          </a:r>
          <a:endParaRPr lang="en-GB" sz="1800"/>
        </a:p>
      </dgm:t>
    </dgm:pt>
    <dgm:pt modelId="{0175B19F-B6C8-43CB-88A5-6A4B022BBE92}" type="parTrans" cxnId="{62F6F3BA-E04A-42C8-80BD-A627549317AF}">
      <dgm:prSet/>
      <dgm:spPr/>
      <dgm:t>
        <a:bodyPr/>
        <a:lstStyle/>
        <a:p>
          <a:endParaRPr lang="en-GB"/>
        </a:p>
      </dgm:t>
    </dgm:pt>
    <dgm:pt modelId="{82C1A92C-B84D-4FD9-8869-9D9BB18EB219}" type="sibTrans" cxnId="{62F6F3BA-E04A-42C8-80BD-A627549317AF}">
      <dgm:prSet/>
      <dgm:spPr/>
      <dgm:t>
        <a:bodyPr/>
        <a:lstStyle/>
        <a:p>
          <a:endParaRPr lang="en-GB"/>
        </a:p>
      </dgm:t>
    </dgm:pt>
    <dgm:pt modelId="{8AB45B68-61CA-460C-8D1B-8F5BDDFC2E8F}">
      <dgm:prSet phldrT="[Text]" custT="1"/>
      <dgm:spPr/>
      <dgm:t>
        <a:bodyPr/>
        <a:lstStyle/>
        <a:p>
          <a:pPr rtl="0"/>
          <a:r>
            <a:rPr lang="fr-BE" sz="1800">
              <a:latin typeface="Calibri Light" panose="020F0302020204030204"/>
            </a:rPr>
            <a:t>Interviews </a:t>
          </a:r>
          <a:r>
            <a:rPr lang="fr-BE" sz="1800" err="1"/>
            <a:t>with</a:t>
          </a:r>
          <a:r>
            <a:rPr lang="fr-BE" sz="1800"/>
            <a:t> </a:t>
          </a:r>
          <a:r>
            <a:rPr lang="fr-BE" sz="1800" err="1"/>
            <a:t>selected</a:t>
          </a:r>
          <a:r>
            <a:rPr lang="fr-BE" sz="1800"/>
            <a:t> </a:t>
          </a:r>
          <a:r>
            <a:rPr lang="fr-BE" sz="1800" err="1"/>
            <a:t>number</a:t>
          </a:r>
          <a:r>
            <a:rPr lang="fr-BE" sz="1800"/>
            <a:t> of staff </a:t>
          </a:r>
          <a:r>
            <a:rPr lang="fr-BE" sz="1800" err="1"/>
            <a:t>based</a:t>
          </a:r>
          <a:r>
            <a:rPr lang="fr-BE" sz="1800"/>
            <a:t> on </a:t>
          </a:r>
          <a:r>
            <a:rPr lang="fr-BE" sz="1800" err="1"/>
            <a:t>gender</a:t>
          </a:r>
          <a:r>
            <a:rPr lang="fr-BE" sz="1800"/>
            <a:t>, </a:t>
          </a:r>
          <a:r>
            <a:rPr lang="fr-BE" sz="1800" err="1"/>
            <a:t>age</a:t>
          </a:r>
          <a:r>
            <a:rPr lang="fr-BE" sz="1800"/>
            <a:t> and </a:t>
          </a:r>
          <a:r>
            <a:rPr lang="fr-BE" sz="1800" err="1"/>
            <a:t>seniority</a:t>
          </a:r>
          <a:r>
            <a:rPr lang="fr-BE" sz="1800"/>
            <a:t> </a:t>
          </a:r>
          <a:r>
            <a:rPr lang="fr-BE" sz="1800" err="1"/>
            <a:t>criteria</a:t>
          </a:r>
          <a:r>
            <a:rPr lang="fr-BE" sz="1800"/>
            <a:t> in </a:t>
          </a:r>
          <a:r>
            <a:rPr lang="fr-BE" sz="1800" err="1"/>
            <a:t>September</a:t>
          </a:r>
          <a:r>
            <a:rPr lang="fr-BE" sz="1800"/>
            <a:t> 2022</a:t>
          </a:r>
          <a:endParaRPr lang="en-GB" sz="1800"/>
        </a:p>
      </dgm:t>
    </dgm:pt>
    <dgm:pt modelId="{0C8D2C28-CDE6-42CD-B6B0-982666D6DC97}" type="parTrans" cxnId="{F11EB0D2-F4F3-465E-AAFD-0EF39193D6C4}">
      <dgm:prSet/>
      <dgm:spPr/>
      <dgm:t>
        <a:bodyPr/>
        <a:lstStyle/>
        <a:p>
          <a:endParaRPr lang="en-GB"/>
        </a:p>
      </dgm:t>
    </dgm:pt>
    <dgm:pt modelId="{1C8D5C0F-DE94-40A9-8115-58A1FAFBAC61}" type="sibTrans" cxnId="{F11EB0D2-F4F3-465E-AAFD-0EF39193D6C4}">
      <dgm:prSet/>
      <dgm:spPr/>
      <dgm:t>
        <a:bodyPr/>
        <a:lstStyle/>
        <a:p>
          <a:endParaRPr lang="en-GB"/>
        </a:p>
      </dgm:t>
    </dgm:pt>
    <dgm:pt modelId="{7228D781-669D-4287-A67C-7CE951096625}">
      <dgm:prSet custT="1"/>
      <dgm:spPr/>
      <dgm:t>
        <a:bodyPr/>
        <a:lstStyle/>
        <a:p>
          <a:pPr>
            <a:lnSpc>
              <a:spcPct val="100000"/>
            </a:lnSpc>
            <a:spcAft>
              <a:spcPts val="0"/>
            </a:spcAft>
          </a:pPr>
          <a:r>
            <a:rPr lang="fr-BE" sz="1800" kern="1200" err="1"/>
            <a:t>Two</a:t>
          </a:r>
          <a:r>
            <a:rPr lang="fr-BE" sz="1800" kern="1200"/>
            <a:t> workshops </a:t>
          </a:r>
          <a:r>
            <a:rPr lang="fr-BE" sz="1800" kern="1200" err="1"/>
            <a:t>organised</a:t>
          </a:r>
          <a:r>
            <a:rPr lang="fr-BE" sz="1800" kern="1200"/>
            <a:t> to </a:t>
          </a:r>
          <a:r>
            <a:rPr lang="fr-BE" sz="1800" kern="0" spc="0" baseline="0" err="1"/>
            <a:t>consult</a:t>
          </a:r>
          <a:r>
            <a:rPr lang="fr-BE" sz="1800" kern="0" spc="0" baseline="0"/>
            <a:t> staff in </a:t>
          </a:r>
          <a:r>
            <a:rPr lang="fr-BE" sz="1800" kern="0" spc="0" baseline="0" err="1"/>
            <a:t>September</a:t>
          </a:r>
          <a:r>
            <a:rPr lang="fr-BE" sz="1800" kern="0" spc="0" baseline="0"/>
            <a:t> 2022</a:t>
          </a:r>
          <a:endParaRPr lang="en-GB" sz="5100" kern="0" spc="0" baseline="0"/>
        </a:p>
      </dgm:t>
    </dgm:pt>
    <dgm:pt modelId="{C3B9BB65-AB2F-4B6F-A8A0-1F908310C19F}" type="parTrans" cxnId="{CB5D3315-3241-4C8B-978B-4C07FBCCC54D}">
      <dgm:prSet/>
      <dgm:spPr/>
      <dgm:t>
        <a:bodyPr/>
        <a:lstStyle/>
        <a:p>
          <a:endParaRPr lang="en-GB"/>
        </a:p>
      </dgm:t>
    </dgm:pt>
    <dgm:pt modelId="{C3E8F036-0191-4581-894C-DB7746F94585}" type="sibTrans" cxnId="{CB5D3315-3241-4C8B-978B-4C07FBCCC54D}">
      <dgm:prSet/>
      <dgm:spPr/>
      <dgm:t>
        <a:bodyPr/>
        <a:lstStyle/>
        <a:p>
          <a:endParaRPr lang="en-GB"/>
        </a:p>
      </dgm:t>
    </dgm:pt>
    <dgm:pt modelId="{D433042F-3C55-4AF9-888D-C69803527A7C}" type="pres">
      <dgm:prSet presAssocID="{43492AC8-7B69-4B31-9FD2-88F8E9E2162F}" presName="Name0" presStyleCnt="0">
        <dgm:presLayoutVars>
          <dgm:dir/>
          <dgm:resizeHandles val="exact"/>
        </dgm:presLayoutVars>
      </dgm:prSet>
      <dgm:spPr/>
    </dgm:pt>
    <dgm:pt modelId="{578E1BD2-7BCB-4C29-8CF0-C1CBCE55D367}" type="pres">
      <dgm:prSet presAssocID="{C5632283-2ECB-4CB2-905D-817403583C41}" presName="composite" presStyleCnt="0"/>
      <dgm:spPr/>
    </dgm:pt>
    <dgm:pt modelId="{46283CF9-3416-4F46-8A11-79FEABEB1215}" type="pres">
      <dgm:prSet presAssocID="{C5632283-2ECB-4CB2-905D-817403583C41}" presName="bgChev" presStyleLbl="node1" presStyleIdx="0" presStyleCnt="4" custScaleY="284753"/>
      <dgm:spPr/>
    </dgm:pt>
    <dgm:pt modelId="{67AD50E3-348B-4DF6-B71F-D98F620699AC}" type="pres">
      <dgm:prSet presAssocID="{C5632283-2ECB-4CB2-905D-817403583C41}" presName="txNode" presStyleLbl="fgAcc1" presStyleIdx="0" presStyleCnt="4" custScaleY="281371">
        <dgm:presLayoutVars>
          <dgm:bulletEnabled val="1"/>
        </dgm:presLayoutVars>
      </dgm:prSet>
      <dgm:spPr/>
    </dgm:pt>
    <dgm:pt modelId="{F30E3816-9206-4D61-83A5-D539CF09F33E}" type="pres">
      <dgm:prSet presAssocID="{871A9B81-3211-4C50-A0D1-A189F4EA9018}" presName="compositeSpace" presStyleCnt="0"/>
      <dgm:spPr/>
    </dgm:pt>
    <dgm:pt modelId="{F6139E37-A1D6-44FF-9498-21EA1B044F46}" type="pres">
      <dgm:prSet presAssocID="{CA94226A-1510-40FE-915A-DD0B6EC42216}" presName="composite" presStyleCnt="0"/>
      <dgm:spPr/>
    </dgm:pt>
    <dgm:pt modelId="{FAE9F185-7F1A-4861-B5AE-2CD4D49B9349}" type="pres">
      <dgm:prSet presAssocID="{CA94226A-1510-40FE-915A-DD0B6EC42216}" presName="bgChev" presStyleLbl="node1" presStyleIdx="1" presStyleCnt="4" custScaleY="278589"/>
      <dgm:spPr/>
    </dgm:pt>
    <dgm:pt modelId="{8A3AD7FC-9C5A-4BE5-BFE0-E1BA63DB3BDF}" type="pres">
      <dgm:prSet presAssocID="{CA94226A-1510-40FE-915A-DD0B6EC42216}" presName="txNode" presStyleLbl="fgAcc1" presStyleIdx="1" presStyleCnt="4" custScaleY="263610">
        <dgm:presLayoutVars>
          <dgm:bulletEnabled val="1"/>
        </dgm:presLayoutVars>
      </dgm:prSet>
      <dgm:spPr/>
    </dgm:pt>
    <dgm:pt modelId="{D0AA7018-FBAF-45F7-BFB4-805336431270}" type="pres">
      <dgm:prSet presAssocID="{82C1A92C-B84D-4FD9-8869-9D9BB18EB219}" presName="compositeSpace" presStyleCnt="0"/>
      <dgm:spPr/>
    </dgm:pt>
    <dgm:pt modelId="{16277AC8-586D-4EFE-A67A-E888844CD5D5}" type="pres">
      <dgm:prSet presAssocID="{8AB45B68-61CA-460C-8D1B-8F5BDDFC2E8F}" presName="composite" presStyleCnt="0"/>
      <dgm:spPr/>
    </dgm:pt>
    <dgm:pt modelId="{65388819-F065-4838-BDA4-F491C775DFF5}" type="pres">
      <dgm:prSet presAssocID="{8AB45B68-61CA-460C-8D1B-8F5BDDFC2E8F}" presName="bgChev" presStyleLbl="node1" presStyleIdx="2" presStyleCnt="4" custScaleY="285269"/>
      <dgm:spPr/>
    </dgm:pt>
    <dgm:pt modelId="{705D03E7-E568-4DB1-9327-3C8AA4B05422}" type="pres">
      <dgm:prSet presAssocID="{8AB45B68-61CA-460C-8D1B-8F5BDDFC2E8F}" presName="txNode" presStyleLbl="fgAcc1" presStyleIdx="2" presStyleCnt="4" custScaleY="276440">
        <dgm:presLayoutVars>
          <dgm:bulletEnabled val="1"/>
        </dgm:presLayoutVars>
      </dgm:prSet>
      <dgm:spPr/>
    </dgm:pt>
    <dgm:pt modelId="{0513936D-538F-4FDB-A5F9-CD27E98E7C05}" type="pres">
      <dgm:prSet presAssocID="{1C8D5C0F-DE94-40A9-8115-58A1FAFBAC61}" presName="compositeSpace" presStyleCnt="0"/>
      <dgm:spPr/>
    </dgm:pt>
    <dgm:pt modelId="{F2DF56E6-A5BE-4CAC-8B92-3AD2C58066C8}" type="pres">
      <dgm:prSet presAssocID="{7228D781-669D-4287-A67C-7CE951096625}" presName="composite" presStyleCnt="0"/>
      <dgm:spPr/>
    </dgm:pt>
    <dgm:pt modelId="{AD66A480-0247-4697-99D1-2AF91E378BE2}" type="pres">
      <dgm:prSet presAssocID="{7228D781-669D-4287-A67C-7CE951096625}" presName="bgChev" presStyleLbl="node1" presStyleIdx="3" presStyleCnt="4" custScaleY="272942"/>
      <dgm:spPr/>
    </dgm:pt>
    <dgm:pt modelId="{3438EB5A-61F9-4CA4-B32E-33A5F3D66257}" type="pres">
      <dgm:prSet presAssocID="{7228D781-669D-4287-A67C-7CE951096625}" presName="txNode" presStyleLbl="fgAcc1" presStyleIdx="3" presStyleCnt="4" custScaleY="257088">
        <dgm:presLayoutVars>
          <dgm:bulletEnabled val="1"/>
        </dgm:presLayoutVars>
      </dgm:prSet>
      <dgm:spPr/>
    </dgm:pt>
  </dgm:ptLst>
  <dgm:cxnLst>
    <dgm:cxn modelId="{CB5D3315-3241-4C8B-978B-4C07FBCCC54D}" srcId="{43492AC8-7B69-4B31-9FD2-88F8E9E2162F}" destId="{7228D781-669D-4287-A67C-7CE951096625}" srcOrd="3" destOrd="0" parTransId="{C3B9BB65-AB2F-4B6F-A8A0-1F908310C19F}" sibTransId="{C3E8F036-0191-4581-894C-DB7746F94585}"/>
    <dgm:cxn modelId="{112B7633-FAC2-46B7-9E1F-6CB918A78344}" type="presOf" srcId="{7228D781-669D-4287-A67C-7CE951096625}" destId="{3438EB5A-61F9-4CA4-B32E-33A5F3D66257}" srcOrd="0" destOrd="0" presId="urn:microsoft.com/office/officeart/2005/8/layout/chevronAccent+Icon"/>
    <dgm:cxn modelId="{9D059F35-1B39-4617-8113-6223C7DFA63F}" type="presOf" srcId="{8AB45B68-61CA-460C-8D1B-8F5BDDFC2E8F}" destId="{705D03E7-E568-4DB1-9327-3C8AA4B05422}" srcOrd="0" destOrd="0" presId="urn:microsoft.com/office/officeart/2005/8/layout/chevronAccent+Icon"/>
    <dgm:cxn modelId="{2E72D864-D905-44A1-9FFE-65D60A534BAF}" type="presOf" srcId="{C5632283-2ECB-4CB2-905D-817403583C41}" destId="{67AD50E3-348B-4DF6-B71F-D98F620699AC}" srcOrd="0" destOrd="0" presId="urn:microsoft.com/office/officeart/2005/8/layout/chevronAccent+Icon"/>
    <dgm:cxn modelId="{2E82DD7D-45F5-4FF5-A982-918ADBEB5157}" type="presOf" srcId="{CA94226A-1510-40FE-915A-DD0B6EC42216}" destId="{8A3AD7FC-9C5A-4BE5-BFE0-E1BA63DB3BDF}" srcOrd="0" destOrd="0" presId="urn:microsoft.com/office/officeart/2005/8/layout/chevronAccent+Icon"/>
    <dgm:cxn modelId="{0D9F7188-28DA-4CBF-984F-66F6613EBF3C}" srcId="{43492AC8-7B69-4B31-9FD2-88F8E9E2162F}" destId="{C5632283-2ECB-4CB2-905D-817403583C41}" srcOrd="0" destOrd="0" parTransId="{E8F36D77-FFA2-459B-AC18-532AB54A8212}" sibTransId="{871A9B81-3211-4C50-A0D1-A189F4EA9018}"/>
    <dgm:cxn modelId="{8058D7A4-8030-4F4C-B69B-D14507899EBB}" type="presOf" srcId="{43492AC8-7B69-4B31-9FD2-88F8E9E2162F}" destId="{D433042F-3C55-4AF9-888D-C69803527A7C}" srcOrd="0" destOrd="0" presId="urn:microsoft.com/office/officeart/2005/8/layout/chevronAccent+Icon"/>
    <dgm:cxn modelId="{62F6F3BA-E04A-42C8-80BD-A627549317AF}" srcId="{43492AC8-7B69-4B31-9FD2-88F8E9E2162F}" destId="{CA94226A-1510-40FE-915A-DD0B6EC42216}" srcOrd="1" destOrd="0" parTransId="{0175B19F-B6C8-43CB-88A5-6A4B022BBE92}" sibTransId="{82C1A92C-B84D-4FD9-8869-9D9BB18EB219}"/>
    <dgm:cxn modelId="{F11EB0D2-F4F3-465E-AAFD-0EF39193D6C4}" srcId="{43492AC8-7B69-4B31-9FD2-88F8E9E2162F}" destId="{8AB45B68-61CA-460C-8D1B-8F5BDDFC2E8F}" srcOrd="2" destOrd="0" parTransId="{0C8D2C28-CDE6-42CD-B6B0-982666D6DC97}" sibTransId="{1C8D5C0F-DE94-40A9-8115-58A1FAFBAC61}"/>
    <dgm:cxn modelId="{6C23887F-418D-4864-944E-DFF8934B835A}" type="presParOf" srcId="{D433042F-3C55-4AF9-888D-C69803527A7C}" destId="{578E1BD2-7BCB-4C29-8CF0-C1CBCE55D367}" srcOrd="0" destOrd="0" presId="urn:microsoft.com/office/officeart/2005/8/layout/chevronAccent+Icon"/>
    <dgm:cxn modelId="{89B2873D-D47B-4F51-99A9-B9EDA411CC22}" type="presParOf" srcId="{578E1BD2-7BCB-4C29-8CF0-C1CBCE55D367}" destId="{46283CF9-3416-4F46-8A11-79FEABEB1215}" srcOrd="0" destOrd="0" presId="urn:microsoft.com/office/officeart/2005/8/layout/chevronAccent+Icon"/>
    <dgm:cxn modelId="{9622479F-BEEE-4099-8D51-EB7A5949429B}" type="presParOf" srcId="{578E1BD2-7BCB-4C29-8CF0-C1CBCE55D367}" destId="{67AD50E3-348B-4DF6-B71F-D98F620699AC}" srcOrd="1" destOrd="0" presId="urn:microsoft.com/office/officeart/2005/8/layout/chevronAccent+Icon"/>
    <dgm:cxn modelId="{B6D0E530-E7D7-44CB-868E-5A359853E445}" type="presParOf" srcId="{D433042F-3C55-4AF9-888D-C69803527A7C}" destId="{F30E3816-9206-4D61-83A5-D539CF09F33E}" srcOrd="1" destOrd="0" presId="urn:microsoft.com/office/officeart/2005/8/layout/chevronAccent+Icon"/>
    <dgm:cxn modelId="{31EC8C2F-E1AB-4FA5-949A-4EF7B4DB0AA7}" type="presParOf" srcId="{D433042F-3C55-4AF9-888D-C69803527A7C}" destId="{F6139E37-A1D6-44FF-9498-21EA1B044F46}" srcOrd="2" destOrd="0" presId="urn:microsoft.com/office/officeart/2005/8/layout/chevronAccent+Icon"/>
    <dgm:cxn modelId="{F63EF668-E73C-4EA0-8810-DCBC84EE92F1}" type="presParOf" srcId="{F6139E37-A1D6-44FF-9498-21EA1B044F46}" destId="{FAE9F185-7F1A-4861-B5AE-2CD4D49B9349}" srcOrd="0" destOrd="0" presId="urn:microsoft.com/office/officeart/2005/8/layout/chevronAccent+Icon"/>
    <dgm:cxn modelId="{76E8ACAD-6A6F-4E3C-B070-D3C45BEF2A85}" type="presParOf" srcId="{F6139E37-A1D6-44FF-9498-21EA1B044F46}" destId="{8A3AD7FC-9C5A-4BE5-BFE0-E1BA63DB3BDF}" srcOrd="1" destOrd="0" presId="urn:microsoft.com/office/officeart/2005/8/layout/chevronAccent+Icon"/>
    <dgm:cxn modelId="{BD527DD3-7D23-4723-AB71-00F4B27C874B}" type="presParOf" srcId="{D433042F-3C55-4AF9-888D-C69803527A7C}" destId="{D0AA7018-FBAF-45F7-BFB4-805336431270}" srcOrd="3" destOrd="0" presId="urn:microsoft.com/office/officeart/2005/8/layout/chevronAccent+Icon"/>
    <dgm:cxn modelId="{358A9140-7DD5-461F-AA86-6693EE62DF3D}" type="presParOf" srcId="{D433042F-3C55-4AF9-888D-C69803527A7C}" destId="{16277AC8-586D-4EFE-A67A-E888844CD5D5}" srcOrd="4" destOrd="0" presId="urn:microsoft.com/office/officeart/2005/8/layout/chevronAccent+Icon"/>
    <dgm:cxn modelId="{60293F02-BD81-46E3-93F9-30444A9F3CDA}" type="presParOf" srcId="{16277AC8-586D-4EFE-A67A-E888844CD5D5}" destId="{65388819-F065-4838-BDA4-F491C775DFF5}" srcOrd="0" destOrd="0" presId="urn:microsoft.com/office/officeart/2005/8/layout/chevronAccent+Icon"/>
    <dgm:cxn modelId="{974F9DE3-F306-44E9-B573-52ED380247BD}" type="presParOf" srcId="{16277AC8-586D-4EFE-A67A-E888844CD5D5}" destId="{705D03E7-E568-4DB1-9327-3C8AA4B05422}" srcOrd="1" destOrd="0" presId="urn:microsoft.com/office/officeart/2005/8/layout/chevronAccent+Icon"/>
    <dgm:cxn modelId="{BAD06290-9D5A-423D-9A09-D33A31AC00A1}" type="presParOf" srcId="{D433042F-3C55-4AF9-888D-C69803527A7C}" destId="{0513936D-538F-4FDB-A5F9-CD27E98E7C05}" srcOrd="5" destOrd="0" presId="urn:microsoft.com/office/officeart/2005/8/layout/chevronAccent+Icon"/>
    <dgm:cxn modelId="{92EF071D-DFB1-401E-BF93-BEBDD8A29134}" type="presParOf" srcId="{D433042F-3C55-4AF9-888D-C69803527A7C}" destId="{F2DF56E6-A5BE-4CAC-8B92-3AD2C58066C8}" srcOrd="6" destOrd="0" presId="urn:microsoft.com/office/officeart/2005/8/layout/chevronAccent+Icon"/>
    <dgm:cxn modelId="{3668F87D-F031-4970-B363-700C41F4F245}" type="presParOf" srcId="{F2DF56E6-A5BE-4CAC-8B92-3AD2C58066C8}" destId="{AD66A480-0247-4697-99D1-2AF91E378BE2}" srcOrd="0" destOrd="0" presId="urn:microsoft.com/office/officeart/2005/8/layout/chevronAccent+Icon"/>
    <dgm:cxn modelId="{63BDB3CC-3633-481B-AD65-773D400C8B8C}" type="presParOf" srcId="{F2DF56E6-A5BE-4CAC-8B92-3AD2C58066C8}" destId="{3438EB5A-61F9-4CA4-B32E-33A5F3D66257}"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E272C28-185D-47F1-971A-68B2C6E2D141}"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GB"/>
        </a:p>
      </dgm:t>
    </dgm:pt>
    <dgm:pt modelId="{50952AB2-4238-47C8-90FA-E770CDBADD1F}">
      <dgm:prSet phldrT="[Text]"/>
      <dgm:spPr/>
      <dgm:t>
        <a:bodyPr/>
        <a:lstStyle/>
        <a:p>
          <a:r>
            <a:rPr lang="fr-BE" err="1"/>
            <a:t>Recommendations</a:t>
          </a:r>
          <a:r>
            <a:rPr lang="fr-BE"/>
            <a:t> to tackle gaps and </a:t>
          </a:r>
          <a:r>
            <a:rPr lang="fr-BE" err="1"/>
            <a:t>foster</a:t>
          </a:r>
          <a:r>
            <a:rPr lang="fr-BE"/>
            <a:t> good practices to </a:t>
          </a:r>
          <a:r>
            <a:rPr lang="fr-BE" err="1"/>
            <a:t>improve</a:t>
          </a:r>
          <a:r>
            <a:rPr lang="fr-BE"/>
            <a:t> </a:t>
          </a:r>
          <a:r>
            <a:rPr lang="fr-BE" err="1"/>
            <a:t>gender</a:t>
          </a:r>
          <a:r>
            <a:rPr lang="fr-BE"/>
            <a:t> </a:t>
          </a:r>
          <a:r>
            <a:rPr lang="fr-BE" err="1"/>
            <a:t>equality</a:t>
          </a:r>
          <a:r>
            <a:rPr lang="fr-BE"/>
            <a:t> </a:t>
          </a:r>
          <a:r>
            <a:rPr lang="fr-BE" err="1"/>
            <a:t>within</a:t>
          </a:r>
          <a:r>
            <a:rPr lang="fr-BE"/>
            <a:t> ERA</a:t>
          </a:r>
          <a:endParaRPr lang="en-GB"/>
        </a:p>
      </dgm:t>
    </dgm:pt>
    <dgm:pt modelId="{C760F749-75DB-4093-BBC3-508290110DB0}" type="parTrans" cxnId="{3DEED7AB-817D-43EB-840C-449BA1D99807}">
      <dgm:prSet/>
      <dgm:spPr/>
      <dgm:t>
        <a:bodyPr/>
        <a:lstStyle/>
        <a:p>
          <a:endParaRPr lang="en-GB"/>
        </a:p>
      </dgm:t>
    </dgm:pt>
    <dgm:pt modelId="{0C25DDB0-86B0-40ED-977E-B166D2DE3C20}" type="sibTrans" cxnId="{3DEED7AB-817D-43EB-840C-449BA1D99807}">
      <dgm:prSet/>
      <dgm:spPr/>
      <dgm:t>
        <a:bodyPr/>
        <a:lstStyle/>
        <a:p>
          <a:endParaRPr lang="en-GB"/>
        </a:p>
      </dgm:t>
    </dgm:pt>
    <dgm:pt modelId="{CADA7CFC-7AD7-45F7-AE5D-24DF0CA794C7}">
      <dgm:prSet phldrT="[Text]"/>
      <dgm:spPr/>
      <dgm:t>
        <a:bodyPr/>
        <a:lstStyle/>
        <a:p>
          <a:pPr>
            <a:buFont typeface="Arial" panose="020B0604020202020204" pitchFamily="34" charset="0"/>
            <a:buChar char="•"/>
          </a:pPr>
          <a:endParaRPr lang="en-US">
            <a:solidFill>
              <a:schemeClr val="bg1"/>
            </a:solidFill>
          </a:endParaRPr>
        </a:p>
        <a:p>
          <a:pPr>
            <a:buFont typeface="Arial" panose="020B0604020202020204" pitchFamily="34" charset="0"/>
            <a:buChar char="•"/>
          </a:pPr>
          <a:r>
            <a:rPr lang="en-US">
              <a:solidFill>
                <a:schemeClr val="bg1"/>
              </a:solidFill>
            </a:rPr>
            <a:t>The visuals created by the organisation that are disseminated externally are gender balanced and effort is made to avoid stereotypes.</a:t>
          </a:r>
        </a:p>
        <a:p>
          <a:pPr>
            <a:buFont typeface="Arial" panose="020B0604020202020204" pitchFamily="34" charset="0"/>
            <a:buChar char="•"/>
          </a:pPr>
          <a:endParaRPr lang="en-GB">
            <a:solidFill>
              <a:schemeClr val="bg1"/>
            </a:solidFill>
          </a:endParaRPr>
        </a:p>
      </dgm:t>
    </dgm:pt>
    <dgm:pt modelId="{381CA28C-722B-4062-BA20-D473D9D711BF}" type="parTrans" cxnId="{CD540858-7615-4C7C-B8E1-8A637C1C28B9}">
      <dgm:prSet/>
      <dgm:spPr/>
      <dgm:t>
        <a:bodyPr/>
        <a:lstStyle/>
        <a:p>
          <a:endParaRPr lang="en-GB"/>
        </a:p>
      </dgm:t>
    </dgm:pt>
    <dgm:pt modelId="{200D70EB-F29C-4E89-8720-CF2E8DF761BD}" type="sibTrans" cxnId="{CD540858-7615-4C7C-B8E1-8A637C1C28B9}">
      <dgm:prSet/>
      <dgm:spPr/>
      <dgm:t>
        <a:bodyPr/>
        <a:lstStyle/>
        <a:p>
          <a:endParaRPr lang="en-GB"/>
        </a:p>
      </dgm:t>
    </dgm:pt>
    <dgm:pt modelId="{24589FA6-449C-4DDC-9208-47727227D13E}">
      <dgm:prSet phldrT="[Text]"/>
      <dgm:spPr/>
      <dgm:t>
        <a:bodyPr/>
        <a:lstStyle/>
        <a:p>
          <a:r>
            <a:rPr lang="en-GB">
              <a:solidFill>
                <a:schemeClr val="bg1"/>
              </a:solidFill>
            </a:rPr>
            <a:t>No specific attention is given to gender balance or gender equality when selecting partners.</a:t>
          </a:r>
        </a:p>
      </dgm:t>
    </dgm:pt>
    <dgm:pt modelId="{7A6A2E03-80B3-4101-A7FA-5CB0AA4488B3}" type="parTrans" cxnId="{95B74A51-A200-4084-879D-AC0DDC9DBCA1}">
      <dgm:prSet/>
      <dgm:spPr/>
      <dgm:t>
        <a:bodyPr/>
        <a:lstStyle/>
        <a:p>
          <a:endParaRPr lang="en-GB"/>
        </a:p>
      </dgm:t>
    </dgm:pt>
    <dgm:pt modelId="{078DFF9E-609F-42A1-90C7-E6C3024DC41F}" type="sibTrans" cxnId="{95B74A51-A200-4084-879D-AC0DDC9DBCA1}">
      <dgm:prSet/>
      <dgm:spPr/>
      <dgm:t>
        <a:bodyPr/>
        <a:lstStyle/>
        <a:p>
          <a:endParaRPr lang="en-GB"/>
        </a:p>
      </dgm:t>
    </dgm:pt>
    <dgm:pt modelId="{366323EA-284B-421B-824B-F4D5D7968207}">
      <dgm:prSet phldrT="[Text]"/>
      <dgm:spPr/>
      <dgm:t>
        <a:bodyPr/>
        <a:lstStyle/>
        <a:p>
          <a:pPr>
            <a:buFont typeface="Arial" panose="020B0604020202020204" pitchFamily="34" charset="0"/>
            <a:buChar char="•"/>
          </a:pPr>
          <a:r>
            <a:rPr lang="en-GB">
              <a:solidFill>
                <a:schemeClr val="bg1"/>
              </a:solidFill>
            </a:rPr>
            <a:t>Gender balance in general within ERA is 37% F - 63% M.</a:t>
          </a:r>
        </a:p>
      </dgm:t>
    </dgm:pt>
    <dgm:pt modelId="{8662D257-A3FF-44CD-B709-69AD3AA1BB4F}" type="parTrans" cxnId="{387B85A4-4090-4705-9F86-733E8FE45A86}">
      <dgm:prSet/>
      <dgm:spPr/>
      <dgm:t>
        <a:bodyPr/>
        <a:lstStyle/>
        <a:p>
          <a:endParaRPr lang="en-GB"/>
        </a:p>
      </dgm:t>
    </dgm:pt>
    <dgm:pt modelId="{F582B40C-414F-4517-A72B-3B4922B0A899}" type="sibTrans" cxnId="{387B85A4-4090-4705-9F86-733E8FE45A86}">
      <dgm:prSet/>
      <dgm:spPr/>
      <dgm:t>
        <a:bodyPr/>
        <a:lstStyle/>
        <a:p>
          <a:endParaRPr lang="en-GB"/>
        </a:p>
      </dgm:t>
    </dgm:pt>
    <dgm:pt modelId="{086F38FC-6345-42C0-A92C-A6EAE5F256F7}">
      <dgm:prSet phldrT="[Text]"/>
      <dgm:spPr/>
      <dgm:t>
        <a:bodyPr/>
        <a:lstStyle/>
        <a:p>
          <a:pPr>
            <a:buFont typeface="Arial" panose="020B0604020202020204" pitchFamily="34" charset="0"/>
            <a:buChar char="•"/>
          </a:pPr>
          <a:r>
            <a:rPr lang="en-US">
              <a:solidFill>
                <a:schemeClr val="bg1"/>
              </a:solidFill>
            </a:rPr>
            <a:t>Staff members indicate they feel no barrier to ask for parental leave and never experienced any issues.</a:t>
          </a:r>
        </a:p>
        <a:p>
          <a:pPr>
            <a:buFont typeface="Arial" panose="020B0604020202020204" pitchFamily="34" charset="0"/>
            <a:buChar char="•"/>
          </a:pPr>
          <a:endParaRPr lang="en-GB">
            <a:solidFill>
              <a:schemeClr val="bg1"/>
            </a:solidFill>
          </a:endParaRPr>
        </a:p>
      </dgm:t>
    </dgm:pt>
    <dgm:pt modelId="{5425C33B-7D67-4D85-B052-62BF5E4CD70A}" type="parTrans" cxnId="{C48CE8ED-8A7D-486A-BD61-ABCAEAFBBFF4}">
      <dgm:prSet/>
      <dgm:spPr/>
      <dgm:t>
        <a:bodyPr/>
        <a:lstStyle/>
        <a:p>
          <a:endParaRPr lang="en-GB"/>
        </a:p>
      </dgm:t>
    </dgm:pt>
    <dgm:pt modelId="{C7836F5C-43F3-42EE-B205-237B83A2A262}" type="sibTrans" cxnId="{C48CE8ED-8A7D-486A-BD61-ABCAEAFBBFF4}">
      <dgm:prSet/>
      <dgm:spPr/>
      <dgm:t>
        <a:bodyPr/>
        <a:lstStyle/>
        <a:p>
          <a:endParaRPr lang="en-GB"/>
        </a:p>
      </dgm:t>
    </dgm:pt>
    <dgm:pt modelId="{A7E2B9FB-C76A-48B5-816E-88A9CC40A059}" type="pres">
      <dgm:prSet presAssocID="{CE272C28-185D-47F1-971A-68B2C6E2D141}" presName="diagram" presStyleCnt="0">
        <dgm:presLayoutVars>
          <dgm:chMax val="1"/>
          <dgm:dir/>
          <dgm:animLvl val="ctr"/>
          <dgm:resizeHandles val="exact"/>
        </dgm:presLayoutVars>
      </dgm:prSet>
      <dgm:spPr/>
    </dgm:pt>
    <dgm:pt modelId="{F2E05566-F370-4834-982F-3EFA75BBB0C7}" type="pres">
      <dgm:prSet presAssocID="{CE272C28-185D-47F1-971A-68B2C6E2D141}" presName="matrix" presStyleCnt="0"/>
      <dgm:spPr/>
    </dgm:pt>
    <dgm:pt modelId="{E9AAD833-CF11-4554-A944-C966D81CDD69}" type="pres">
      <dgm:prSet presAssocID="{CE272C28-185D-47F1-971A-68B2C6E2D141}" presName="tile1" presStyleLbl="node1" presStyleIdx="0" presStyleCnt="4"/>
      <dgm:spPr/>
    </dgm:pt>
    <dgm:pt modelId="{A53811FA-7841-4CAA-B71D-12133ED8D4EB}" type="pres">
      <dgm:prSet presAssocID="{CE272C28-185D-47F1-971A-68B2C6E2D141}" presName="tile1text" presStyleLbl="node1" presStyleIdx="0" presStyleCnt="4">
        <dgm:presLayoutVars>
          <dgm:chMax val="0"/>
          <dgm:chPref val="0"/>
          <dgm:bulletEnabled val="1"/>
        </dgm:presLayoutVars>
      </dgm:prSet>
      <dgm:spPr/>
    </dgm:pt>
    <dgm:pt modelId="{7A15B3C7-5A76-47BA-A27D-9ADD59872FFF}" type="pres">
      <dgm:prSet presAssocID="{CE272C28-185D-47F1-971A-68B2C6E2D141}" presName="tile2" presStyleLbl="node1" presStyleIdx="1" presStyleCnt="4"/>
      <dgm:spPr/>
    </dgm:pt>
    <dgm:pt modelId="{F3DA20FF-474E-476A-8550-AF6F9CC4D04D}" type="pres">
      <dgm:prSet presAssocID="{CE272C28-185D-47F1-971A-68B2C6E2D141}" presName="tile2text" presStyleLbl="node1" presStyleIdx="1" presStyleCnt="4">
        <dgm:presLayoutVars>
          <dgm:chMax val="0"/>
          <dgm:chPref val="0"/>
          <dgm:bulletEnabled val="1"/>
        </dgm:presLayoutVars>
      </dgm:prSet>
      <dgm:spPr/>
    </dgm:pt>
    <dgm:pt modelId="{18429C4E-8B18-4EAB-BC31-BC710ADAA1B2}" type="pres">
      <dgm:prSet presAssocID="{CE272C28-185D-47F1-971A-68B2C6E2D141}" presName="tile3" presStyleLbl="node1" presStyleIdx="2" presStyleCnt="4"/>
      <dgm:spPr/>
    </dgm:pt>
    <dgm:pt modelId="{2A871CBA-6720-4E3C-8ABF-7AE8FAC5C332}" type="pres">
      <dgm:prSet presAssocID="{CE272C28-185D-47F1-971A-68B2C6E2D141}" presName="tile3text" presStyleLbl="node1" presStyleIdx="2" presStyleCnt="4">
        <dgm:presLayoutVars>
          <dgm:chMax val="0"/>
          <dgm:chPref val="0"/>
          <dgm:bulletEnabled val="1"/>
        </dgm:presLayoutVars>
      </dgm:prSet>
      <dgm:spPr/>
    </dgm:pt>
    <dgm:pt modelId="{B8515A34-4915-4F39-AE25-6D06994E56B8}" type="pres">
      <dgm:prSet presAssocID="{CE272C28-185D-47F1-971A-68B2C6E2D141}" presName="tile4" presStyleLbl="node1" presStyleIdx="3" presStyleCnt="4"/>
      <dgm:spPr/>
    </dgm:pt>
    <dgm:pt modelId="{26494709-2EC3-4B96-9DCF-A92893A66A37}" type="pres">
      <dgm:prSet presAssocID="{CE272C28-185D-47F1-971A-68B2C6E2D141}" presName="tile4text" presStyleLbl="node1" presStyleIdx="3" presStyleCnt="4">
        <dgm:presLayoutVars>
          <dgm:chMax val="0"/>
          <dgm:chPref val="0"/>
          <dgm:bulletEnabled val="1"/>
        </dgm:presLayoutVars>
      </dgm:prSet>
      <dgm:spPr/>
    </dgm:pt>
    <dgm:pt modelId="{70478B35-D8E6-4310-A0EE-06F7E6249B16}" type="pres">
      <dgm:prSet presAssocID="{CE272C28-185D-47F1-971A-68B2C6E2D141}" presName="centerTile" presStyleLbl="fgShp" presStyleIdx="0" presStyleCnt="1" custScaleX="127350" custScaleY="154980">
        <dgm:presLayoutVars>
          <dgm:chMax val="0"/>
          <dgm:chPref val="0"/>
        </dgm:presLayoutVars>
      </dgm:prSet>
      <dgm:spPr/>
    </dgm:pt>
  </dgm:ptLst>
  <dgm:cxnLst>
    <dgm:cxn modelId="{D0247300-EFF2-42AB-B477-16FE04657871}" type="presOf" srcId="{50952AB2-4238-47C8-90FA-E770CDBADD1F}" destId="{70478B35-D8E6-4310-A0EE-06F7E6249B16}" srcOrd="0" destOrd="0" presId="urn:microsoft.com/office/officeart/2005/8/layout/matrix1"/>
    <dgm:cxn modelId="{059C6D09-E98F-4CBD-A9DD-84DB8E1C5542}" type="presOf" srcId="{366323EA-284B-421B-824B-F4D5D7968207}" destId="{18429C4E-8B18-4EAB-BC31-BC710ADAA1B2}" srcOrd="0" destOrd="0" presId="urn:microsoft.com/office/officeart/2005/8/layout/matrix1"/>
    <dgm:cxn modelId="{959B3334-1067-403B-B107-3CE0B58BA49B}" type="presOf" srcId="{24589FA6-449C-4DDC-9208-47727227D13E}" destId="{F3DA20FF-474E-476A-8550-AF6F9CC4D04D}" srcOrd="1" destOrd="0" presId="urn:microsoft.com/office/officeart/2005/8/layout/matrix1"/>
    <dgm:cxn modelId="{704E2B6E-0695-4530-BD4F-B697DA5D4710}" type="presOf" srcId="{086F38FC-6345-42C0-A92C-A6EAE5F256F7}" destId="{26494709-2EC3-4B96-9DCF-A92893A66A37}" srcOrd="1" destOrd="0" presId="urn:microsoft.com/office/officeart/2005/8/layout/matrix1"/>
    <dgm:cxn modelId="{95B74A51-A200-4084-879D-AC0DDC9DBCA1}" srcId="{50952AB2-4238-47C8-90FA-E770CDBADD1F}" destId="{24589FA6-449C-4DDC-9208-47727227D13E}" srcOrd="1" destOrd="0" parTransId="{7A6A2E03-80B3-4101-A7FA-5CB0AA4488B3}" sibTransId="{078DFF9E-609F-42A1-90C7-E6C3024DC41F}"/>
    <dgm:cxn modelId="{41F45576-C996-489F-AE62-1536A71F96E2}" type="presOf" srcId="{366323EA-284B-421B-824B-F4D5D7968207}" destId="{2A871CBA-6720-4E3C-8ABF-7AE8FAC5C332}" srcOrd="1" destOrd="0" presId="urn:microsoft.com/office/officeart/2005/8/layout/matrix1"/>
    <dgm:cxn modelId="{CD540858-7615-4C7C-B8E1-8A637C1C28B9}" srcId="{50952AB2-4238-47C8-90FA-E770CDBADD1F}" destId="{CADA7CFC-7AD7-45F7-AE5D-24DF0CA794C7}" srcOrd="0" destOrd="0" parTransId="{381CA28C-722B-4062-BA20-D473D9D711BF}" sibTransId="{200D70EB-F29C-4E89-8720-CF2E8DF761BD}"/>
    <dgm:cxn modelId="{275D8A86-5FD6-49DD-9C26-03B9812AFF29}" type="presOf" srcId="{086F38FC-6345-42C0-A92C-A6EAE5F256F7}" destId="{B8515A34-4915-4F39-AE25-6D06994E56B8}" srcOrd="0" destOrd="0" presId="urn:microsoft.com/office/officeart/2005/8/layout/matrix1"/>
    <dgm:cxn modelId="{387B85A4-4090-4705-9F86-733E8FE45A86}" srcId="{50952AB2-4238-47C8-90FA-E770CDBADD1F}" destId="{366323EA-284B-421B-824B-F4D5D7968207}" srcOrd="2" destOrd="0" parTransId="{8662D257-A3FF-44CD-B709-69AD3AA1BB4F}" sibTransId="{F582B40C-414F-4517-A72B-3B4922B0A899}"/>
    <dgm:cxn modelId="{3DEED7AB-817D-43EB-840C-449BA1D99807}" srcId="{CE272C28-185D-47F1-971A-68B2C6E2D141}" destId="{50952AB2-4238-47C8-90FA-E770CDBADD1F}" srcOrd="0" destOrd="0" parTransId="{C760F749-75DB-4093-BBC3-508290110DB0}" sibTransId="{0C25DDB0-86B0-40ED-977E-B166D2DE3C20}"/>
    <dgm:cxn modelId="{0194CCB0-3D16-4EA6-86A9-F1264EA66FB6}" type="presOf" srcId="{CE272C28-185D-47F1-971A-68B2C6E2D141}" destId="{A7E2B9FB-C76A-48B5-816E-88A9CC40A059}" srcOrd="0" destOrd="0" presId="urn:microsoft.com/office/officeart/2005/8/layout/matrix1"/>
    <dgm:cxn modelId="{22BB0AC5-88D1-408D-8A93-5F6191B814FF}" type="presOf" srcId="{CADA7CFC-7AD7-45F7-AE5D-24DF0CA794C7}" destId="{A53811FA-7841-4CAA-B71D-12133ED8D4EB}" srcOrd="1" destOrd="0" presId="urn:microsoft.com/office/officeart/2005/8/layout/matrix1"/>
    <dgm:cxn modelId="{9326B8DD-9E3C-447C-963A-E149B6A912F9}" type="presOf" srcId="{24589FA6-449C-4DDC-9208-47727227D13E}" destId="{7A15B3C7-5A76-47BA-A27D-9ADD59872FFF}" srcOrd="0" destOrd="0" presId="urn:microsoft.com/office/officeart/2005/8/layout/matrix1"/>
    <dgm:cxn modelId="{B0973EDF-C584-4255-AA2D-8E19D4C2940B}" type="presOf" srcId="{CADA7CFC-7AD7-45F7-AE5D-24DF0CA794C7}" destId="{E9AAD833-CF11-4554-A944-C966D81CDD69}" srcOrd="0" destOrd="0" presId="urn:microsoft.com/office/officeart/2005/8/layout/matrix1"/>
    <dgm:cxn modelId="{C48CE8ED-8A7D-486A-BD61-ABCAEAFBBFF4}" srcId="{50952AB2-4238-47C8-90FA-E770CDBADD1F}" destId="{086F38FC-6345-42C0-A92C-A6EAE5F256F7}" srcOrd="3" destOrd="0" parTransId="{5425C33B-7D67-4D85-B052-62BF5E4CD70A}" sibTransId="{C7836F5C-43F3-42EE-B205-237B83A2A262}"/>
    <dgm:cxn modelId="{A7D3C63C-8036-4AB1-83A0-AC8AC1254763}" type="presParOf" srcId="{A7E2B9FB-C76A-48B5-816E-88A9CC40A059}" destId="{F2E05566-F370-4834-982F-3EFA75BBB0C7}" srcOrd="0" destOrd="0" presId="urn:microsoft.com/office/officeart/2005/8/layout/matrix1"/>
    <dgm:cxn modelId="{F8D55534-A55C-40A4-9AAA-921E56FCBF33}" type="presParOf" srcId="{F2E05566-F370-4834-982F-3EFA75BBB0C7}" destId="{E9AAD833-CF11-4554-A944-C966D81CDD69}" srcOrd="0" destOrd="0" presId="urn:microsoft.com/office/officeart/2005/8/layout/matrix1"/>
    <dgm:cxn modelId="{A067443F-452E-43C3-8C15-FCA94C5FC718}" type="presParOf" srcId="{F2E05566-F370-4834-982F-3EFA75BBB0C7}" destId="{A53811FA-7841-4CAA-B71D-12133ED8D4EB}" srcOrd="1" destOrd="0" presId="urn:microsoft.com/office/officeart/2005/8/layout/matrix1"/>
    <dgm:cxn modelId="{64DDEBAB-5E95-42B7-ADA6-22BF1398F192}" type="presParOf" srcId="{F2E05566-F370-4834-982F-3EFA75BBB0C7}" destId="{7A15B3C7-5A76-47BA-A27D-9ADD59872FFF}" srcOrd="2" destOrd="0" presId="urn:microsoft.com/office/officeart/2005/8/layout/matrix1"/>
    <dgm:cxn modelId="{7784EE10-A238-47B2-B9B1-3435DF04F65F}" type="presParOf" srcId="{F2E05566-F370-4834-982F-3EFA75BBB0C7}" destId="{F3DA20FF-474E-476A-8550-AF6F9CC4D04D}" srcOrd="3" destOrd="0" presId="urn:microsoft.com/office/officeart/2005/8/layout/matrix1"/>
    <dgm:cxn modelId="{0915591D-7C0B-48F0-8AE8-51DEEFF1DF23}" type="presParOf" srcId="{F2E05566-F370-4834-982F-3EFA75BBB0C7}" destId="{18429C4E-8B18-4EAB-BC31-BC710ADAA1B2}" srcOrd="4" destOrd="0" presId="urn:microsoft.com/office/officeart/2005/8/layout/matrix1"/>
    <dgm:cxn modelId="{92D65BD2-6EC9-435E-B884-CD2365D56205}" type="presParOf" srcId="{F2E05566-F370-4834-982F-3EFA75BBB0C7}" destId="{2A871CBA-6720-4E3C-8ABF-7AE8FAC5C332}" srcOrd="5" destOrd="0" presId="urn:microsoft.com/office/officeart/2005/8/layout/matrix1"/>
    <dgm:cxn modelId="{7CC67050-0B45-447C-9B65-51453357EABB}" type="presParOf" srcId="{F2E05566-F370-4834-982F-3EFA75BBB0C7}" destId="{B8515A34-4915-4F39-AE25-6D06994E56B8}" srcOrd="6" destOrd="0" presId="urn:microsoft.com/office/officeart/2005/8/layout/matrix1"/>
    <dgm:cxn modelId="{B0609998-F204-4CBB-8AEB-708344DFD850}" type="presParOf" srcId="{F2E05566-F370-4834-982F-3EFA75BBB0C7}" destId="{26494709-2EC3-4B96-9DCF-A92893A66A37}" srcOrd="7" destOrd="0" presId="urn:microsoft.com/office/officeart/2005/8/layout/matrix1"/>
    <dgm:cxn modelId="{B28FF15F-A8DA-4E1E-9E9D-D3200072E80D}" type="presParOf" srcId="{A7E2B9FB-C76A-48B5-816E-88A9CC40A059}" destId="{70478B35-D8E6-4310-A0EE-06F7E6249B16}"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7206F46-97E7-447B-96C4-6DCD99DFD317}" type="doc">
      <dgm:prSet loTypeId="urn:microsoft.com/office/officeart/2005/8/layout/chevron2" loCatId="process" qsTypeId="urn:microsoft.com/office/officeart/2005/8/quickstyle/simple3" qsCatId="simple" csTypeId="urn:microsoft.com/office/officeart/2005/8/colors/accent2_2" csCatId="accent2" phldr="1"/>
      <dgm:spPr/>
      <dgm:t>
        <a:bodyPr/>
        <a:lstStyle/>
        <a:p>
          <a:endParaRPr lang="de-DE"/>
        </a:p>
      </dgm:t>
    </dgm:pt>
    <dgm:pt modelId="{FA6C58FC-32F9-4CA1-9CAC-6A44038FB170}">
      <dgm:prSet phldrT="[Text]" custT="1"/>
      <dgm:spPr/>
      <dgm:t>
        <a:bodyPr/>
        <a:lstStyle/>
        <a:p>
          <a:r>
            <a:rPr lang="de-DE" sz="2400"/>
            <a:t>1</a:t>
          </a:r>
        </a:p>
      </dgm:t>
    </dgm:pt>
    <dgm:pt modelId="{2DF8896B-7A4B-4EE1-9E2A-1191D2420500}" type="parTrans" cxnId="{F5A6ED96-A853-4DC2-9182-E39D8E4F1D7F}">
      <dgm:prSet/>
      <dgm:spPr/>
      <dgm:t>
        <a:bodyPr/>
        <a:lstStyle/>
        <a:p>
          <a:endParaRPr lang="de-DE" sz="1600"/>
        </a:p>
      </dgm:t>
    </dgm:pt>
    <dgm:pt modelId="{5DEFA155-E45D-4E74-A1DB-99A0C85784C5}" type="sibTrans" cxnId="{F5A6ED96-A853-4DC2-9182-E39D8E4F1D7F}">
      <dgm:prSet/>
      <dgm:spPr/>
      <dgm:t>
        <a:bodyPr/>
        <a:lstStyle/>
        <a:p>
          <a:endParaRPr lang="de-DE" sz="1600"/>
        </a:p>
      </dgm:t>
    </dgm:pt>
    <dgm:pt modelId="{F04AE171-568F-471B-AB42-39E3288F48F3}">
      <dgm:prSet phldrT="[Text]" custT="1"/>
      <dgm:spPr/>
      <dgm:t>
        <a:bodyPr/>
        <a:lstStyle/>
        <a:p>
          <a:r>
            <a:rPr lang="en-GB" sz="2000" i="1" noProof="0"/>
            <a:t>Definitions and identification of measurable indicators</a:t>
          </a:r>
        </a:p>
      </dgm:t>
    </dgm:pt>
    <dgm:pt modelId="{2CDF4B01-AB48-4AD6-ACD4-EF8132E76F3E}" type="parTrans" cxnId="{9CDA43C7-610D-4973-B5EE-C3F0006E5AB0}">
      <dgm:prSet/>
      <dgm:spPr/>
      <dgm:t>
        <a:bodyPr/>
        <a:lstStyle/>
        <a:p>
          <a:endParaRPr lang="de-DE" sz="1600"/>
        </a:p>
      </dgm:t>
    </dgm:pt>
    <dgm:pt modelId="{3C8A8525-6B8E-4FD1-A3F4-B0311C446C2B}" type="sibTrans" cxnId="{9CDA43C7-610D-4973-B5EE-C3F0006E5AB0}">
      <dgm:prSet/>
      <dgm:spPr/>
      <dgm:t>
        <a:bodyPr/>
        <a:lstStyle/>
        <a:p>
          <a:endParaRPr lang="de-DE" sz="1600"/>
        </a:p>
      </dgm:t>
    </dgm:pt>
    <dgm:pt modelId="{1A6A4622-387A-4FE0-A175-D55D04DFA827}">
      <dgm:prSet phldrT="[Text]" custT="1"/>
      <dgm:spPr/>
      <dgm:t>
        <a:bodyPr/>
        <a:lstStyle/>
        <a:p>
          <a:pPr marL="0" lvl="0" indent="0" algn="ctr" defTabSz="1066800">
            <a:lnSpc>
              <a:spcPct val="90000"/>
            </a:lnSpc>
            <a:spcBef>
              <a:spcPct val="0"/>
            </a:spcBef>
            <a:spcAft>
              <a:spcPct val="35000"/>
            </a:spcAft>
            <a:buNone/>
          </a:pPr>
          <a:r>
            <a:rPr lang="de-DE" sz="2400" kern="1200">
              <a:latin typeface="Tw Cen MT" panose="020B0602020104020603"/>
              <a:ea typeface="+mn-ea"/>
              <a:cs typeface="+mn-cs"/>
            </a:rPr>
            <a:t>2</a:t>
          </a:r>
        </a:p>
      </dgm:t>
    </dgm:pt>
    <dgm:pt modelId="{A0C811B5-CB05-4755-98BD-3C98D861CCFF}" type="parTrans" cxnId="{60A30FCB-B295-496A-8E86-CA22B04803F1}">
      <dgm:prSet/>
      <dgm:spPr/>
      <dgm:t>
        <a:bodyPr/>
        <a:lstStyle/>
        <a:p>
          <a:endParaRPr lang="de-DE" sz="1600"/>
        </a:p>
      </dgm:t>
    </dgm:pt>
    <dgm:pt modelId="{78289BAE-49D4-474C-B0E9-B3E2996ED289}" type="sibTrans" cxnId="{60A30FCB-B295-496A-8E86-CA22B04803F1}">
      <dgm:prSet/>
      <dgm:spPr/>
      <dgm:t>
        <a:bodyPr/>
        <a:lstStyle/>
        <a:p>
          <a:endParaRPr lang="de-DE" sz="1600"/>
        </a:p>
      </dgm:t>
    </dgm:pt>
    <dgm:pt modelId="{235E0EA9-7EBB-4F19-BE35-848AB06E8086}">
      <dgm:prSet phldrT="[Text]" custT="1"/>
      <dgm:spPr/>
      <dgm:t>
        <a:bodyPr/>
        <a:lstStyle/>
        <a:p>
          <a:r>
            <a:rPr lang="en-GB" sz="2000" i="1" kern="1200" noProof="0">
              <a:latin typeface="Tw Cen MT" panose="020B0602020104020603"/>
              <a:ea typeface="+mn-ea"/>
              <a:cs typeface="+mn-cs"/>
            </a:rPr>
            <a:t>Assess employability from operators/infrastructure managers point of view</a:t>
          </a:r>
        </a:p>
      </dgm:t>
    </dgm:pt>
    <dgm:pt modelId="{9DABA316-34AD-4CF4-9D27-D26242C5F905}" type="parTrans" cxnId="{3F8CA663-8E42-45EA-86F0-0977E0310CDB}">
      <dgm:prSet/>
      <dgm:spPr/>
      <dgm:t>
        <a:bodyPr/>
        <a:lstStyle/>
        <a:p>
          <a:endParaRPr lang="de-DE" sz="1600"/>
        </a:p>
      </dgm:t>
    </dgm:pt>
    <dgm:pt modelId="{DDCA4F18-E28F-43FE-A9FC-EE0A4A61347F}" type="sibTrans" cxnId="{3F8CA663-8E42-45EA-86F0-0977E0310CDB}">
      <dgm:prSet/>
      <dgm:spPr/>
      <dgm:t>
        <a:bodyPr/>
        <a:lstStyle/>
        <a:p>
          <a:endParaRPr lang="de-DE" sz="1600"/>
        </a:p>
      </dgm:t>
    </dgm:pt>
    <dgm:pt modelId="{FE4A0E10-718D-4642-96D4-24EA03BE67A8}">
      <dgm:prSet phldrT="[Text]" custT="1"/>
      <dgm:spPr/>
      <dgm:t>
        <a:bodyPr/>
        <a:lstStyle/>
        <a:p>
          <a:r>
            <a:rPr lang="de-DE" sz="2400"/>
            <a:t>3</a:t>
          </a:r>
        </a:p>
      </dgm:t>
    </dgm:pt>
    <dgm:pt modelId="{B6F3C0A4-5C7D-43D4-81D6-698C213F823C}" type="parTrans" cxnId="{692B2471-31B4-4301-8F60-59457D783889}">
      <dgm:prSet/>
      <dgm:spPr/>
      <dgm:t>
        <a:bodyPr/>
        <a:lstStyle/>
        <a:p>
          <a:endParaRPr lang="de-DE" sz="1600"/>
        </a:p>
      </dgm:t>
    </dgm:pt>
    <dgm:pt modelId="{A3D76F7F-E816-40F3-A02A-D06909F88CEF}" type="sibTrans" cxnId="{692B2471-31B4-4301-8F60-59457D783889}">
      <dgm:prSet/>
      <dgm:spPr/>
      <dgm:t>
        <a:bodyPr/>
        <a:lstStyle/>
        <a:p>
          <a:endParaRPr lang="de-DE" sz="1600"/>
        </a:p>
      </dgm:t>
    </dgm:pt>
    <dgm:pt modelId="{2F7E75E4-D3A5-4F77-819B-3DF3FDE19186}">
      <dgm:prSet phldrT="[Text]" custT="1"/>
      <dgm:spPr/>
      <dgm:t>
        <a:bodyPr/>
        <a:lstStyle/>
        <a:p>
          <a:r>
            <a:rPr lang="en-GB" sz="2000" noProof="0"/>
            <a:t>Development of a tool for the v</a:t>
          </a:r>
          <a:r>
            <a:rPr lang="it-IT" sz="2000" noProof="0" err="1"/>
            <a:t>alidation</a:t>
          </a:r>
          <a:r>
            <a:rPr lang="it-IT" sz="2000" noProof="0"/>
            <a:t> and </a:t>
          </a:r>
          <a:r>
            <a:rPr lang="it-IT" sz="2000" noProof="0" err="1"/>
            <a:t>continuous</a:t>
          </a:r>
          <a:r>
            <a:rPr lang="it-IT" sz="2000" noProof="0"/>
            <a:t> </a:t>
          </a:r>
          <a:r>
            <a:rPr lang="it-IT" sz="2000" noProof="0" err="1"/>
            <a:t>evaluation</a:t>
          </a:r>
          <a:endParaRPr lang="en-GB" sz="2000" noProof="0"/>
        </a:p>
      </dgm:t>
    </dgm:pt>
    <dgm:pt modelId="{309E60C0-7E96-43A8-8128-23CEE2360310}" type="parTrans" cxnId="{15944DD0-ABEF-44AF-BC85-CA248ED4E079}">
      <dgm:prSet/>
      <dgm:spPr/>
      <dgm:t>
        <a:bodyPr/>
        <a:lstStyle/>
        <a:p>
          <a:endParaRPr lang="de-DE" sz="1600"/>
        </a:p>
      </dgm:t>
    </dgm:pt>
    <dgm:pt modelId="{4F8BB368-87CC-4D79-8079-5A75B08ACBDE}" type="sibTrans" cxnId="{15944DD0-ABEF-44AF-BC85-CA248ED4E079}">
      <dgm:prSet/>
      <dgm:spPr/>
      <dgm:t>
        <a:bodyPr/>
        <a:lstStyle/>
        <a:p>
          <a:endParaRPr lang="de-DE" sz="1600"/>
        </a:p>
      </dgm:t>
    </dgm:pt>
    <dgm:pt modelId="{083B549A-F1D0-4D95-A088-FC52B3B976CA}">
      <dgm:prSet phldrT="[Text]" custT="1"/>
      <dgm:spPr/>
      <dgm:t>
        <a:bodyPr/>
        <a:lstStyle/>
        <a:p>
          <a:r>
            <a:rPr lang="en-GB" sz="2000" i="1" kern="1200" noProof="0">
              <a:latin typeface="Tw Cen MT" panose="020B0602020104020603"/>
              <a:ea typeface="+mn-ea"/>
              <a:cs typeface="+mn-cs"/>
            </a:rPr>
            <a:t>Assess employability from suppliers point of view</a:t>
          </a:r>
        </a:p>
      </dgm:t>
    </dgm:pt>
    <dgm:pt modelId="{56976613-8E84-4215-9986-7CE0623A7493}" type="parTrans" cxnId="{F8DDFC76-8198-4FBF-A071-4CB69D92ADD2}">
      <dgm:prSet/>
      <dgm:spPr/>
      <dgm:t>
        <a:bodyPr/>
        <a:lstStyle/>
        <a:p>
          <a:endParaRPr lang="it-IT"/>
        </a:p>
      </dgm:t>
    </dgm:pt>
    <dgm:pt modelId="{82631D3F-A176-4C28-BE03-DBE748FA8747}" type="sibTrans" cxnId="{F8DDFC76-8198-4FBF-A071-4CB69D92ADD2}">
      <dgm:prSet/>
      <dgm:spPr/>
      <dgm:t>
        <a:bodyPr/>
        <a:lstStyle/>
        <a:p>
          <a:endParaRPr lang="it-IT"/>
        </a:p>
      </dgm:t>
    </dgm:pt>
    <dgm:pt modelId="{5F17745A-6BBC-4542-AA46-786B4F6E5A84}">
      <dgm:prSet phldrT="[Text]" custT="1"/>
      <dgm:spPr/>
      <dgm:t>
        <a:bodyPr/>
        <a:lstStyle/>
        <a:p>
          <a:r>
            <a:rPr lang="en-GB" sz="2000" noProof="0"/>
            <a:t>Apply the tool to validate the developed curricula</a:t>
          </a:r>
        </a:p>
      </dgm:t>
    </dgm:pt>
    <dgm:pt modelId="{B732812B-CAF7-4B87-8056-9119A3D43114}" type="parTrans" cxnId="{9A568C50-0ADC-4D0F-A20C-3BA8F2E87ABE}">
      <dgm:prSet/>
      <dgm:spPr/>
      <dgm:t>
        <a:bodyPr/>
        <a:lstStyle/>
        <a:p>
          <a:endParaRPr lang="it-IT"/>
        </a:p>
      </dgm:t>
    </dgm:pt>
    <dgm:pt modelId="{F1D8A557-91B9-4A97-834D-27709E6B6DC6}" type="sibTrans" cxnId="{9A568C50-0ADC-4D0F-A20C-3BA8F2E87ABE}">
      <dgm:prSet/>
      <dgm:spPr/>
      <dgm:t>
        <a:bodyPr/>
        <a:lstStyle/>
        <a:p>
          <a:endParaRPr lang="it-IT"/>
        </a:p>
      </dgm:t>
    </dgm:pt>
    <dgm:pt modelId="{39FBF9DC-1338-4E4E-9C60-2964AA9A8112}" type="pres">
      <dgm:prSet presAssocID="{E7206F46-97E7-447B-96C4-6DCD99DFD317}" presName="linearFlow" presStyleCnt="0">
        <dgm:presLayoutVars>
          <dgm:dir/>
          <dgm:animLvl val="lvl"/>
          <dgm:resizeHandles val="exact"/>
        </dgm:presLayoutVars>
      </dgm:prSet>
      <dgm:spPr/>
    </dgm:pt>
    <dgm:pt modelId="{DBC7D3EC-7841-470A-B15B-A9D272B0B906}" type="pres">
      <dgm:prSet presAssocID="{FA6C58FC-32F9-4CA1-9CAC-6A44038FB170}" presName="composite" presStyleCnt="0"/>
      <dgm:spPr/>
    </dgm:pt>
    <dgm:pt modelId="{5C61F8F1-12CA-4EE9-A344-CDE980739BB2}" type="pres">
      <dgm:prSet presAssocID="{FA6C58FC-32F9-4CA1-9CAC-6A44038FB170}" presName="parentText" presStyleLbl="alignNode1" presStyleIdx="0" presStyleCnt="3">
        <dgm:presLayoutVars>
          <dgm:chMax val="1"/>
          <dgm:bulletEnabled val="1"/>
        </dgm:presLayoutVars>
      </dgm:prSet>
      <dgm:spPr/>
    </dgm:pt>
    <dgm:pt modelId="{DE0F5615-BE3F-41ED-A4A0-E9EF75756AB1}" type="pres">
      <dgm:prSet presAssocID="{FA6C58FC-32F9-4CA1-9CAC-6A44038FB170}" presName="descendantText" presStyleLbl="alignAcc1" presStyleIdx="0" presStyleCnt="3" custLinFactNeighborX="0" custLinFactNeighborY="-625">
        <dgm:presLayoutVars>
          <dgm:bulletEnabled val="1"/>
        </dgm:presLayoutVars>
      </dgm:prSet>
      <dgm:spPr/>
    </dgm:pt>
    <dgm:pt modelId="{FB405EF6-F25E-40D2-BA77-603D54E43DE3}" type="pres">
      <dgm:prSet presAssocID="{5DEFA155-E45D-4E74-A1DB-99A0C85784C5}" presName="sp" presStyleCnt="0"/>
      <dgm:spPr/>
    </dgm:pt>
    <dgm:pt modelId="{33F2056F-EE74-43F0-997D-1E5EE33D8350}" type="pres">
      <dgm:prSet presAssocID="{1A6A4622-387A-4FE0-A175-D55D04DFA827}" presName="composite" presStyleCnt="0"/>
      <dgm:spPr/>
    </dgm:pt>
    <dgm:pt modelId="{012C1717-D1DB-47E9-B5B7-B1B7733D0F74}" type="pres">
      <dgm:prSet presAssocID="{1A6A4622-387A-4FE0-A175-D55D04DFA827}" presName="parentText" presStyleLbl="alignNode1" presStyleIdx="1" presStyleCnt="3" custLinFactNeighborY="-546">
        <dgm:presLayoutVars>
          <dgm:chMax val="1"/>
          <dgm:bulletEnabled val="1"/>
        </dgm:presLayoutVars>
      </dgm:prSet>
      <dgm:spPr/>
    </dgm:pt>
    <dgm:pt modelId="{DCE0E245-6772-4E52-AB61-B4E8E7BFA598}" type="pres">
      <dgm:prSet presAssocID="{1A6A4622-387A-4FE0-A175-D55D04DFA827}" presName="descendantText" presStyleLbl="alignAcc1" presStyleIdx="1" presStyleCnt="3" custLinFactNeighborY="0">
        <dgm:presLayoutVars>
          <dgm:bulletEnabled val="1"/>
        </dgm:presLayoutVars>
      </dgm:prSet>
      <dgm:spPr/>
    </dgm:pt>
    <dgm:pt modelId="{26E1E3A9-55F6-400A-8790-ACFB77ADB16E}" type="pres">
      <dgm:prSet presAssocID="{78289BAE-49D4-474C-B0E9-B3E2996ED289}" presName="sp" presStyleCnt="0"/>
      <dgm:spPr/>
    </dgm:pt>
    <dgm:pt modelId="{3E942213-5FA3-436D-A224-26E975AF8BDB}" type="pres">
      <dgm:prSet presAssocID="{FE4A0E10-718D-4642-96D4-24EA03BE67A8}" presName="composite" presStyleCnt="0"/>
      <dgm:spPr/>
    </dgm:pt>
    <dgm:pt modelId="{4CABEE09-F019-4964-AB62-3DE652B9F800}" type="pres">
      <dgm:prSet presAssocID="{FE4A0E10-718D-4642-96D4-24EA03BE67A8}" presName="parentText" presStyleLbl="alignNode1" presStyleIdx="2" presStyleCnt="3">
        <dgm:presLayoutVars>
          <dgm:chMax val="1"/>
          <dgm:bulletEnabled val="1"/>
        </dgm:presLayoutVars>
      </dgm:prSet>
      <dgm:spPr/>
    </dgm:pt>
    <dgm:pt modelId="{CA217F01-6940-4D8C-A5AF-0CD23D85F6BD}" type="pres">
      <dgm:prSet presAssocID="{FE4A0E10-718D-4642-96D4-24EA03BE67A8}" presName="descendantText" presStyleLbl="alignAcc1" presStyleIdx="2" presStyleCnt="3">
        <dgm:presLayoutVars>
          <dgm:bulletEnabled val="1"/>
        </dgm:presLayoutVars>
      </dgm:prSet>
      <dgm:spPr/>
    </dgm:pt>
  </dgm:ptLst>
  <dgm:cxnLst>
    <dgm:cxn modelId="{B9AE773D-6907-4B87-B362-729B4F7F30D4}" type="presOf" srcId="{5F17745A-6BBC-4542-AA46-786B4F6E5A84}" destId="{CA217F01-6940-4D8C-A5AF-0CD23D85F6BD}" srcOrd="0" destOrd="1" presId="urn:microsoft.com/office/officeart/2005/8/layout/chevron2"/>
    <dgm:cxn modelId="{3F8CA663-8E42-45EA-86F0-0977E0310CDB}" srcId="{1A6A4622-387A-4FE0-A175-D55D04DFA827}" destId="{235E0EA9-7EBB-4F19-BE35-848AB06E8086}" srcOrd="0" destOrd="0" parTransId="{9DABA316-34AD-4CF4-9D27-D26242C5F905}" sibTransId="{DDCA4F18-E28F-43FE-A9FC-EE0A4A61347F}"/>
    <dgm:cxn modelId="{029D1E4E-9DE7-4F9C-8BCB-F40B95DE0D30}" type="presOf" srcId="{083B549A-F1D0-4D95-A088-FC52B3B976CA}" destId="{DCE0E245-6772-4E52-AB61-B4E8E7BFA598}" srcOrd="0" destOrd="1" presId="urn:microsoft.com/office/officeart/2005/8/layout/chevron2"/>
    <dgm:cxn modelId="{4FB7216E-1B58-4EEF-9C49-B3202ECE679A}" type="presOf" srcId="{FA6C58FC-32F9-4CA1-9CAC-6A44038FB170}" destId="{5C61F8F1-12CA-4EE9-A344-CDE980739BB2}" srcOrd="0" destOrd="0" presId="urn:microsoft.com/office/officeart/2005/8/layout/chevron2"/>
    <dgm:cxn modelId="{9A568C50-0ADC-4D0F-A20C-3BA8F2E87ABE}" srcId="{FE4A0E10-718D-4642-96D4-24EA03BE67A8}" destId="{5F17745A-6BBC-4542-AA46-786B4F6E5A84}" srcOrd="1" destOrd="0" parTransId="{B732812B-CAF7-4B87-8056-9119A3D43114}" sibTransId="{F1D8A557-91B9-4A97-834D-27709E6B6DC6}"/>
    <dgm:cxn modelId="{692B2471-31B4-4301-8F60-59457D783889}" srcId="{E7206F46-97E7-447B-96C4-6DCD99DFD317}" destId="{FE4A0E10-718D-4642-96D4-24EA03BE67A8}" srcOrd="2" destOrd="0" parTransId="{B6F3C0A4-5C7D-43D4-81D6-698C213F823C}" sibTransId="{A3D76F7F-E816-40F3-A02A-D06909F88CEF}"/>
    <dgm:cxn modelId="{F8DDFC76-8198-4FBF-A071-4CB69D92ADD2}" srcId="{1A6A4622-387A-4FE0-A175-D55D04DFA827}" destId="{083B549A-F1D0-4D95-A088-FC52B3B976CA}" srcOrd="1" destOrd="0" parTransId="{56976613-8E84-4215-9986-7CE0623A7493}" sibTransId="{82631D3F-A176-4C28-BE03-DBE748FA8747}"/>
    <dgm:cxn modelId="{B911F885-C4F7-411F-AFB9-5BAEDEBAE94A}" type="presOf" srcId="{2F7E75E4-D3A5-4F77-819B-3DF3FDE19186}" destId="{CA217F01-6940-4D8C-A5AF-0CD23D85F6BD}" srcOrd="0" destOrd="0" presId="urn:microsoft.com/office/officeart/2005/8/layout/chevron2"/>
    <dgm:cxn modelId="{7EE17795-8B91-42C6-8868-A1E38669D182}" type="presOf" srcId="{235E0EA9-7EBB-4F19-BE35-848AB06E8086}" destId="{DCE0E245-6772-4E52-AB61-B4E8E7BFA598}" srcOrd="0" destOrd="0" presId="urn:microsoft.com/office/officeart/2005/8/layout/chevron2"/>
    <dgm:cxn modelId="{F5A6ED96-A853-4DC2-9182-E39D8E4F1D7F}" srcId="{E7206F46-97E7-447B-96C4-6DCD99DFD317}" destId="{FA6C58FC-32F9-4CA1-9CAC-6A44038FB170}" srcOrd="0" destOrd="0" parTransId="{2DF8896B-7A4B-4EE1-9E2A-1191D2420500}" sibTransId="{5DEFA155-E45D-4E74-A1DB-99A0C85784C5}"/>
    <dgm:cxn modelId="{C81FB39C-C5EB-4862-A910-2C2803F780A3}" type="presOf" srcId="{E7206F46-97E7-447B-96C4-6DCD99DFD317}" destId="{39FBF9DC-1338-4E4E-9C60-2964AA9A8112}" srcOrd="0" destOrd="0" presId="urn:microsoft.com/office/officeart/2005/8/layout/chevron2"/>
    <dgm:cxn modelId="{3D2C06BB-C032-402F-8B90-AC6102659D9E}" type="presOf" srcId="{F04AE171-568F-471B-AB42-39E3288F48F3}" destId="{DE0F5615-BE3F-41ED-A4A0-E9EF75756AB1}" srcOrd="0" destOrd="0" presId="urn:microsoft.com/office/officeart/2005/8/layout/chevron2"/>
    <dgm:cxn modelId="{9CDA43C7-610D-4973-B5EE-C3F0006E5AB0}" srcId="{FA6C58FC-32F9-4CA1-9CAC-6A44038FB170}" destId="{F04AE171-568F-471B-AB42-39E3288F48F3}" srcOrd="0" destOrd="0" parTransId="{2CDF4B01-AB48-4AD6-ACD4-EF8132E76F3E}" sibTransId="{3C8A8525-6B8E-4FD1-A3F4-B0311C446C2B}"/>
    <dgm:cxn modelId="{60A30FCB-B295-496A-8E86-CA22B04803F1}" srcId="{E7206F46-97E7-447B-96C4-6DCD99DFD317}" destId="{1A6A4622-387A-4FE0-A175-D55D04DFA827}" srcOrd="1" destOrd="0" parTransId="{A0C811B5-CB05-4755-98BD-3C98D861CCFF}" sibTransId="{78289BAE-49D4-474C-B0E9-B3E2996ED289}"/>
    <dgm:cxn modelId="{15944DD0-ABEF-44AF-BC85-CA248ED4E079}" srcId="{FE4A0E10-718D-4642-96D4-24EA03BE67A8}" destId="{2F7E75E4-D3A5-4F77-819B-3DF3FDE19186}" srcOrd="0" destOrd="0" parTransId="{309E60C0-7E96-43A8-8128-23CEE2360310}" sibTransId="{4F8BB368-87CC-4D79-8079-5A75B08ACBDE}"/>
    <dgm:cxn modelId="{3B0A37DF-30EF-408E-A04F-8B365C6D1055}" type="presOf" srcId="{FE4A0E10-718D-4642-96D4-24EA03BE67A8}" destId="{4CABEE09-F019-4964-AB62-3DE652B9F800}" srcOrd="0" destOrd="0" presId="urn:microsoft.com/office/officeart/2005/8/layout/chevron2"/>
    <dgm:cxn modelId="{38235DFC-91E6-4DA2-92D8-FEB737BBF560}" type="presOf" srcId="{1A6A4622-387A-4FE0-A175-D55D04DFA827}" destId="{012C1717-D1DB-47E9-B5B7-B1B7733D0F74}" srcOrd="0" destOrd="0" presId="urn:microsoft.com/office/officeart/2005/8/layout/chevron2"/>
    <dgm:cxn modelId="{3900C264-D40B-48C8-BB1E-DD5D735D2103}" type="presParOf" srcId="{39FBF9DC-1338-4E4E-9C60-2964AA9A8112}" destId="{DBC7D3EC-7841-470A-B15B-A9D272B0B906}" srcOrd="0" destOrd="0" presId="urn:microsoft.com/office/officeart/2005/8/layout/chevron2"/>
    <dgm:cxn modelId="{3B98AF01-969C-4419-950F-360CC10556AF}" type="presParOf" srcId="{DBC7D3EC-7841-470A-B15B-A9D272B0B906}" destId="{5C61F8F1-12CA-4EE9-A344-CDE980739BB2}" srcOrd="0" destOrd="0" presId="urn:microsoft.com/office/officeart/2005/8/layout/chevron2"/>
    <dgm:cxn modelId="{D592619D-6253-47BD-8A04-B678606C117D}" type="presParOf" srcId="{DBC7D3EC-7841-470A-B15B-A9D272B0B906}" destId="{DE0F5615-BE3F-41ED-A4A0-E9EF75756AB1}" srcOrd="1" destOrd="0" presId="urn:microsoft.com/office/officeart/2005/8/layout/chevron2"/>
    <dgm:cxn modelId="{043DBC1B-180C-47D7-8E0A-7A5917CECEDF}" type="presParOf" srcId="{39FBF9DC-1338-4E4E-9C60-2964AA9A8112}" destId="{FB405EF6-F25E-40D2-BA77-603D54E43DE3}" srcOrd="1" destOrd="0" presId="urn:microsoft.com/office/officeart/2005/8/layout/chevron2"/>
    <dgm:cxn modelId="{CC4CB5D6-EB5C-4F1C-9ED0-F266D54DF107}" type="presParOf" srcId="{39FBF9DC-1338-4E4E-9C60-2964AA9A8112}" destId="{33F2056F-EE74-43F0-997D-1E5EE33D8350}" srcOrd="2" destOrd="0" presId="urn:microsoft.com/office/officeart/2005/8/layout/chevron2"/>
    <dgm:cxn modelId="{714B4033-2D79-42A8-9775-76084BC03787}" type="presParOf" srcId="{33F2056F-EE74-43F0-997D-1E5EE33D8350}" destId="{012C1717-D1DB-47E9-B5B7-B1B7733D0F74}" srcOrd="0" destOrd="0" presId="urn:microsoft.com/office/officeart/2005/8/layout/chevron2"/>
    <dgm:cxn modelId="{0E4F7694-D70B-4B22-A1D9-C8BD5635D458}" type="presParOf" srcId="{33F2056F-EE74-43F0-997D-1E5EE33D8350}" destId="{DCE0E245-6772-4E52-AB61-B4E8E7BFA598}" srcOrd="1" destOrd="0" presId="urn:microsoft.com/office/officeart/2005/8/layout/chevron2"/>
    <dgm:cxn modelId="{96E887C6-78E6-4BF8-AC0B-103F337066AB}" type="presParOf" srcId="{39FBF9DC-1338-4E4E-9C60-2964AA9A8112}" destId="{26E1E3A9-55F6-400A-8790-ACFB77ADB16E}" srcOrd="3" destOrd="0" presId="urn:microsoft.com/office/officeart/2005/8/layout/chevron2"/>
    <dgm:cxn modelId="{975739DD-EACE-4DFC-8735-8CC061393420}" type="presParOf" srcId="{39FBF9DC-1338-4E4E-9C60-2964AA9A8112}" destId="{3E942213-5FA3-436D-A224-26E975AF8BDB}" srcOrd="4" destOrd="0" presId="urn:microsoft.com/office/officeart/2005/8/layout/chevron2"/>
    <dgm:cxn modelId="{FE9C9452-3C78-46BD-87FF-4076E23534EE}" type="presParOf" srcId="{3E942213-5FA3-436D-A224-26E975AF8BDB}" destId="{4CABEE09-F019-4964-AB62-3DE652B9F800}" srcOrd="0" destOrd="0" presId="urn:microsoft.com/office/officeart/2005/8/layout/chevron2"/>
    <dgm:cxn modelId="{D2E42012-250D-4ECF-8C40-C75B592A954D}" type="presParOf" srcId="{3E942213-5FA3-436D-A224-26E975AF8BDB}" destId="{CA217F01-6940-4D8C-A5AF-0CD23D85F6B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A849428-1840-4F54-9D98-57368AE2A0FE}" type="doc">
      <dgm:prSet loTypeId="urn:microsoft.com/office/officeart/2017/3/layout/DropPinTimeline" loCatId="timeline" qsTypeId="urn:microsoft.com/office/officeart/2005/8/quickstyle/simple1" qsCatId="simple" csTypeId="urn:microsoft.com/office/officeart/2005/8/colors/accent1_2" csCatId="accent1" phldr="1"/>
      <dgm:spPr/>
      <dgm:t>
        <a:bodyPr/>
        <a:lstStyle/>
        <a:p>
          <a:endParaRPr lang="en-US"/>
        </a:p>
      </dgm:t>
    </dgm:pt>
    <dgm:pt modelId="{DC16AE23-299D-44FE-BB20-972D5BCE9877}">
      <dgm:prSet phldrT="[Text]" phldr="0"/>
      <dgm:spPr/>
      <dgm:t>
        <a:bodyPr/>
        <a:lstStyle/>
        <a:p>
          <a:pPr>
            <a:defRPr b="1"/>
          </a:pPr>
          <a:r>
            <a:rPr lang="en-GB" b="1">
              <a:solidFill>
                <a:schemeClr val="bg1"/>
              </a:solidFill>
              <a:latin typeface="Calibri"/>
              <a:cs typeface="Calibri"/>
            </a:rPr>
            <a:t>Safety Critical Components Webinar </a:t>
          </a:r>
          <a:endParaRPr lang="en-US" b="1">
            <a:solidFill>
              <a:schemeClr val="bg1"/>
            </a:solidFill>
          </a:endParaRPr>
        </a:p>
      </dgm:t>
    </dgm:pt>
    <dgm:pt modelId="{D1D868C9-29E5-4E46-AAF4-51E24F2F7073}" type="parTrans" cxnId="{9EAEAC53-4946-4C7A-A9F8-B885C9140389}">
      <dgm:prSet/>
      <dgm:spPr/>
      <dgm:t>
        <a:bodyPr/>
        <a:lstStyle/>
        <a:p>
          <a:endParaRPr lang="en-US"/>
        </a:p>
      </dgm:t>
    </dgm:pt>
    <dgm:pt modelId="{0C418295-FC07-482D-92B5-9009679BAF43}" type="sibTrans" cxnId="{9EAEAC53-4946-4C7A-A9F8-B885C9140389}">
      <dgm:prSet/>
      <dgm:spPr/>
      <dgm:t>
        <a:bodyPr/>
        <a:lstStyle/>
        <a:p>
          <a:endParaRPr lang="en-US"/>
        </a:p>
      </dgm:t>
    </dgm:pt>
    <dgm:pt modelId="{6E61235D-3E9F-474A-A680-62E2DFDACF30}">
      <dgm:prSet phldrT="[Text]" phldr="0"/>
      <dgm:spPr/>
      <dgm:t>
        <a:bodyPr/>
        <a:lstStyle/>
        <a:p>
          <a:r>
            <a:rPr lang="fr-BE">
              <a:solidFill>
                <a:schemeClr val="bg1"/>
              </a:solidFill>
              <a:latin typeface="Calibri"/>
              <a:cs typeface="Calibri"/>
            </a:rPr>
            <a:t>14.30-16.00 (CEST)</a:t>
          </a:r>
        </a:p>
      </dgm:t>
    </dgm:pt>
    <dgm:pt modelId="{186B626A-18C8-4908-B310-2A7FE4A87773}" type="parTrans" cxnId="{B734649C-B0A1-49AE-B41C-8CBD1080ACAE}">
      <dgm:prSet/>
      <dgm:spPr/>
      <dgm:t>
        <a:bodyPr/>
        <a:lstStyle/>
        <a:p>
          <a:endParaRPr lang="en-US"/>
        </a:p>
      </dgm:t>
    </dgm:pt>
    <dgm:pt modelId="{2A4F3783-47BA-4FB9-A814-0FA7BAD97235}" type="sibTrans" cxnId="{B734649C-B0A1-49AE-B41C-8CBD1080ACAE}">
      <dgm:prSet/>
      <dgm:spPr/>
      <dgm:t>
        <a:bodyPr/>
        <a:lstStyle/>
        <a:p>
          <a:endParaRPr lang="en-US"/>
        </a:p>
      </dgm:t>
    </dgm:pt>
    <dgm:pt modelId="{CDC0470F-46E1-4354-86D2-645ADD375431}">
      <dgm:prSet phldrT="[Text]" phldr="0"/>
      <dgm:spPr/>
      <dgm:t>
        <a:bodyPr/>
        <a:lstStyle/>
        <a:p>
          <a:pPr>
            <a:defRPr b="1"/>
          </a:pPr>
          <a:r>
            <a:rPr lang="fr-BE" b="1" err="1">
              <a:solidFill>
                <a:schemeClr val="bg1"/>
              </a:solidFill>
              <a:latin typeface="Calibri"/>
              <a:cs typeface="Calibri"/>
            </a:rPr>
            <a:t>Safety</a:t>
          </a:r>
          <a:r>
            <a:rPr lang="fr-BE" b="1">
              <a:solidFill>
                <a:schemeClr val="bg1"/>
              </a:solidFill>
              <a:latin typeface="Calibri"/>
              <a:cs typeface="Calibri"/>
            </a:rPr>
            <a:t> Days 2023</a:t>
          </a:r>
        </a:p>
      </dgm:t>
    </dgm:pt>
    <dgm:pt modelId="{02286A3B-8881-405A-AD71-AD38ED815847}" type="parTrans" cxnId="{30323459-E4F5-49A7-8B8F-C5A095D4701D}">
      <dgm:prSet/>
      <dgm:spPr/>
      <dgm:t>
        <a:bodyPr/>
        <a:lstStyle/>
        <a:p>
          <a:endParaRPr lang="en-US"/>
        </a:p>
      </dgm:t>
    </dgm:pt>
    <dgm:pt modelId="{B5DFB23E-F7B3-4DE2-B71E-370F18FB699C}" type="sibTrans" cxnId="{30323459-E4F5-49A7-8B8F-C5A095D4701D}">
      <dgm:prSet/>
      <dgm:spPr/>
      <dgm:t>
        <a:bodyPr/>
        <a:lstStyle/>
        <a:p>
          <a:endParaRPr lang="en-US"/>
        </a:p>
      </dgm:t>
    </dgm:pt>
    <dgm:pt modelId="{96F003CD-479C-4AA8-B45B-9B666BF37DB6}">
      <dgm:prSet phldr="0"/>
      <dgm:spPr/>
      <dgm:t>
        <a:bodyPr/>
        <a:lstStyle/>
        <a:p>
          <a:r>
            <a:rPr lang="fr-BE">
              <a:solidFill>
                <a:schemeClr val="bg1"/>
              </a:solidFill>
              <a:latin typeface="Calibri"/>
              <a:cs typeface="Calibri"/>
            </a:rPr>
            <a:t>2 June</a:t>
          </a:r>
        </a:p>
      </dgm:t>
    </dgm:pt>
    <dgm:pt modelId="{992D42F4-ED9B-4B87-BA49-9C233FDAC240}" type="parTrans" cxnId="{E55E66C7-76C6-401B-BF4D-86F73C03D7FF}">
      <dgm:prSet/>
      <dgm:spPr/>
    </dgm:pt>
    <dgm:pt modelId="{CDC76BF9-023C-47FA-BBEF-BC9794C4460F}" type="sibTrans" cxnId="{E55E66C7-76C6-401B-BF4D-86F73C03D7FF}">
      <dgm:prSet/>
      <dgm:spPr/>
    </dgm:pt>
    <dgm:pt modelId="{C68358D2-4306-4554-A14A-8FC7DBBB7C1B}">
      <dgm:prSet phldr="0"/>
      <dgm:spPr/>
      <dgm:t>
        <a:bodyPr/>
        <a:lstStyle/>
        <a:p>
          <a:pPr>
            <a:defRPr b="1"/>
          </a:pPr>
          <a:r>
            <a:rPr lang="en-GB" b="1">
              <a:solidFill>
                <a:schemeClr val="bg1"/>
              </a:solidFill>
              <a:latin typeface="Calibri"/>
              <a:cs typeface="Calibri"/>
            </a:rPr>
            <a:t>ETCR Seminar 2023</a:t>
          </a:r>
        </a:p>
      </dgm:t>
    </dgm:pt>
    <dgm:pt modelId="{F1F61284-1CDC-4035-A8F2-00692FE630D0}" type="parTrans" cxnId="{F5F6D9C6-5BEA-4AE2-BDE6-4F5A140144F3}">
      <dgm:prSet/>
      <dgm:spPr/>
    </dgm:pt>
    <dgm:pt modelId="{1F68BFA9-F9B7-4439-B641-957F42622747}" type="sibTrans" cxnId="{F5F6D9C6-5BEA-4AE2-BDE6-4F5A140144F3}">
      <dgm:prSet/>
      <dgm:spPr/>
    </dgm:pt>
    <dgm:pt modelId="{E9D8CC5F-0ECF-4775-A828-EABEE1B1FB14}">
      <dgm:prSet phldr="0"/>
      <dgm:spPr/>
      <dgm:t>
        <a:bodyPr/>
        <a:lstStyle/>
        <a:p>
          <a:r>
            <a:rPr lang="en-GB">
              <a:solidFill>
                <a:schemeClr val="bg1"/>
              </a:solidFill>
              <a:latin typeface="Calibri"/>
              <a:cs typeface="Calibri"/>
            </a:rPr>
            <a:t>3-14 July</a:t>
          </a:r>
        </a:p>
      </dgm:t>
    </dgm:pt>
    <dgm:pt modelId="{840E341B-3C5E-498B-BAF8-7F0CFC62CAA6}" type="parTrans" cxnId="{3BF8F942-150A-42E4-8592-6D4370A90358}">
      <dgm:prSet/>
      <dgm:spPr/>
    </dgm:pt>
    <dgm:pt modelId="{5AF2EE54-E46D-4B38-B699-F5AE6762F61F}" type="sibTrans" cxnId="{3BF8F942-150A-42E4-8592-6D4370A90358}">
      <dgm:prSet/>
      <dgm:spPr/>
    </dgm:pt>
    <dgm:pt modelId="{1EA20000-C8B9-419C-8FED-D3D18AE930A0}">
      <dgm:prSet phldr="0"/>
      <dgm:spPr/>
      <dgm:t>
        <a:bodyPr/>
        <a:lstStyle/>
        <a:p>
          <a:r>
            <a:rPr lang="en-GB">
              <a:solidFill>
                <a:schemeClr val="bg1"/>
              </a:solidFill>
              <a:latin typeface="Calibri"/>
              <a:cs typeface="Calibri"/>
            </a:rPr>
            <a:t>Bruges, Brussels, Antwerp – Belgium</a:t>
          </a:r>
        </a:p>
      </dgm:t>
    </dgm:pt>
    <dgm:pt modelId="{AFFD8269-039A-4674-9BEB-E613EF5DED92}" type="parTrans" cxnId="{A1F4B0C8-445E-4ACF-9E49-AAADF466A879}">
      <dgm:prSet/>
      <dgm:spPr/>
    </dgm:pt>
    <dgm:pt modelId="{BE434DA9-AD73-4865-8AF2-8256F811741E}" type="sibTrans" cxnId="{A1F4B0C8-445E-4ACF-9E49-AAADF466A879}">
      <dgm:prSet/>
      <dgm:spPr/>
    </dgm:pt>
    <dgm:pt modelId="{79AA135E-C371-42DA-AEB9-6C6D565D5A99}">
      <dgm:prSet phldr="0"/>
      <dgm:spPr/>
      <dgm:t>
        <a:bodyPr/>
        <a:lstStyle/>
        <a:p>
          <a:r>
            <a:rPr lang="fr-BE" b="0">
              <a:solidFill>
                <a:schemeClr val="bg1"/>
              </a:solidFill>
              <a:latin typeface="Calibri"/>
              <a:cs typeface="Calibri"/>
            </a:rPr>
            <a:t>20-22 September</a:t>
          </a:r>
        </a:p>
      </dgm:t>
    </dgm:pt>
    <dgm:pt modelId="{753A79FA-9FFB-420C-B023-9807F289F9ED}" type="parTrans" cxnId="{BA31E96C-E0D2-445F-A722-0F931204C2AD}">
      <dgm:prSet/>
      <dgm:spPr/>
    </dgm:pt>
    <dgm:pt modelId="{88BC5B79-4D5F-476A-B98D-60FF901CC808}" type="sibTrans" cxnId="{BA31E96C-E0D2-445F-A722-0F931204C2AD}">
      <dgm:prSet/>
      <dgm:spPr/>
    </dgm:pt>
    <dgm:pt modelId="{C0C01CFA-E37C-4E2F-99EB-9C8A55F202C9}">
      <dgm:prSet phldr="0"/>
      <dgm:spPr/>
      <dgm:t>
        <a:bodyPr/>
        <a:lstStyle/>
        <a:p>
          <a:r>
            <a:rPr lang="fr-BE" b="0">
              <a:solidFill>
                <a:schemeClr val="bg1"/>
              </a:solidFill>
              <a:latin typeface="Calibri"/>
              <a:cs typeface="Calibri"/>
            </a:rPr>
            <a:t>Tallinn, Estonia</a:t>
          </a:r>
        </a:p>
      </dgm:t>
    </dgm:pt>
    <dgm:pt modelId="{836F2278-F9F2-44DE-8AFA-3C432902095B}" type="parTrans" cxnId="{4B6A4F0B-1DC4-4C9E-9862-2A3D9DA35B23}">
      <dgm:prSet/>
      <dgm:spPr/>
    </dgm:pt>
    <dgm:pt modelId="{6311638E-63FF-443B-9EB0-9AC565929B94}" type="sibTrans" cxnId="{4B6A4F0B-1DC4-4C9E-9862-2A3D9DA35B23}">
      <dgm:prSet/>
      <dgm:spPr/>
    </dgm:pt>
    <dgm:pt modelId="{5706A72C-EE91-4062-9073-A341A8F8E7A7}" type="pres">
      <dgm:prSet presAssocID="{1A849428-1840-4F54-9D98-57368AE2A0FE}" presName="root" presStyleCnt="0">
        <dgm:presLayoutVars>
          <dgm:chMax/>
          <dgm:chPref/>
          <dgm:animLvl val="lvl"/>
        </dgm:presLayoutVars>
      </dgm:prSet>
      <dgm:spPr/>
    </dgm:pt>
    <dgm:pt modelId="{77980041-B44D-413D-9F10-BBAB9BE688C9}" type="pres">
      <dgm:prSet presAssocID="{1A849428-1840-4F54-9D98-57368AE2A0FE}" presName="divider" presStyleLbl="fgAcc1" presStyleIdx="0" presStyleCnt="4"/>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44B846C2-EC84-443A-BC49-18808E97B049}" type="pres">
      <dgm:prSet presAssocID="{1A849428-1840-4F54-9D98-57368AE2A0FE}" presName="nodes" presStyleCnt="0">
        <dgm:presLayoutVars>
          <dgm:chMax/>
          <dgm:chPref/>
          <dgm:animLvl val="lvl"/>
        </dgm:presLayoutVars>
      </dgm:prSet>
      <dgm:spPr/>
    </dgm:pt>
    <dgm:pt modelId="{8F885AA1-5851-4079-AF81-6CE92DBDE06F}" type="pres">
      <dgm:prSet presAssocID="{DC16AE23-299D-44FE-BB20-972D5BCE9877}" presName="composite" presStyleCnt="0"/>
      <dgm:spPr/>
    </dgm:pt>
    <dgm:pt modelId="{F29BA4BA-B7E8-4504-9DCF-3C32A8BE5FFF}" type="pres">
      <dgm:prSet presAssocID="{DC16AE23-299D-44FE-BB20-972D5BCE9877}" presName="ConnectorPoint" presStyleLbl="lnNode1" presStyleIdx="0"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1B861CD1-8AD0-4E68-8A67-75D0FACE9E5C}" type="pres">
      <dgm:prSet presAssocID="{DC16AE23-299D-44FE-BB20-972D5BCE9877}" presName="DropPinPlaceHolder" presStyleCnt="0"/>
      <dgm:spPr/>
    </dgm:pt>
    <dgm:pt modelId="{702BB5D6-9EBC-4F8A-87C2-1AE6B20E7948}" type="pres">
      <dgm:prSet presAssocID="{DC16AE23-299D-44FE-BB20-972D5BCE9877}" presName="DropPin" presStyleLbl="alignNode1" presStyleIdx="0" presStyleCnt="3"/>
      <dgm:spPr/>
    </dgm:pt>
    <dgm:pt modelId="{AE5ADAB1-7461-41DA-825A-703017B560EE}" type="pres">
      <dgm:prSet presAssocID="{DC16AE23-299D-44FE-BB20-972D5BCE9877}" presName="Ellipse" presStyleLbl="fgAcc1" presStyleIdx="1" presStyleCnt="4"/>
      <dgm:spPr>
        <a:solidFill>
          <a:schemeClr val="lt1">
            <a:alpha val="90000"/>
            <a:hueOff val="0"/>
            <a:satOff val="0"/>
            <a:lumOff val="0"/>
            <a:alphaOff val="0"/>
          </a:schemeClr>
        </a:solidFill>
        <a:ln w="12700" cap="flat" cmpd="sng" algn="ctr">
          <a:noFill/>
          <a:prstDash val="solid"/>
          <a:miter lim="800000"/>
        </a:ln>
        <a:effectLst/>
      </dgm:spPr>
    </dgm:pt>
    <dgm:pt modelId="{42EA532C-2BD4-4561-8504-5CF4BC729778}" type="pres">
      <dgm:prSet presAssocID="{DC16AE23-299D-44FE-BB20-972D5BCE9877}" presName="L2TextContainer" presStyleLbl="revTx" presStyleIdx="0" presStyleCnt="6">
        <dgm:presLayoutVars>
          <dgm:bulletEnabled val="1"/>
        </dgm:presLayoutVars>
      </dgm:prSet>
      <dgm:spPr/>
    </dgm:pt>
    <dgm:pt modelId="{509F055C-3361-4FF7-9EA0-22F5CED4593A}" type="pres">
      <dgm:prSet presAssocID="{DC16AE23-299D-44FE-BB20-972D5BCE9877}" presName="L1TextContainer" presStyleLbl="revTx" presStyleIdx="1" presStyleCnt="6">
        <dgm:presLayoutVars>
          <dgm:chMax val="1"/>
          <dgm:chPref val="1"/>
          <dgm:bulletEnabled val="1"/>
        </dgm:presLayoutVars>
      </dgm:prSet>
      <dgm:spPr/>
    </dgm:pt>
    <dgm:pt modelId="{B131210C-93C1-436E-8B52-6A014E18DEA9}" type="pres">
      <dgm:prSet presAssocID="{DC16AE23-299D-44FE-BB20-972D5BCE9877}" presName="ConnectLine" presStyleLbl="sibTrans1D1" presStyleIdx="0" presStyleCnt="3"/>
      <dgm:spPr>
        <a:noFill/>
        <a:ln w="12700" cap="flat" cmpd="sng" algn="ctr">
          <a:solidFill>
            <a:schemeClr val="accent1">
              <a:hueOff val="0"/>
              <a:satOff val="0"/>
              <a:lumOff val="0"/>
              <a:alphaOff val="0"/>
            </a:schemeClr>
          </a:solidFill>
          <a:prstDash val="dash"/>
          <a:miter lim="800000"/>
        </a:ln>
        <a:effectLst/>
      </dgm:spPr>
    </dgm:pt>
    <dgm:pt modelId="{1FA30B49-250A-4879-A314-7B53A0AA1389}" type="pres">
      <dgm:prSet presAssocID="{DC16AE23-299D-44FE-BB20-972D5BCE9877}" presName="EmptyPlaceHolder" presStyleCnt="0"/>
      <dgm:spPr/>
    </dgm:pt>
    <dgm:pt modelId="{BF4D3E8A-5CBE-4BCD-8684-8D78DB89F98A}" type="pres">
      <dgm:prSet presAssocID="{0C418295-FC07-482D-92B5-9009679BAF43}" presName="spaceBetweenRectangles" presStyleCnt="0"/>
      <dgm:spPr/>
    </dgm:pt>
    <dgm:pt modelId="{E3601A39-5B38-4F48-A06E-CB9C6F21296D}" type="pres">
      <dgm:prSet presAssocID="{C68358D2-4306-4554-A14A-8FC7DBBB7C1B}" presName="composite" presStyleCnt="0"/>
      <dgm:spPr/>
    </dgm:pt>
    <dgm:pt modelId="{000DDD25-D4FB-428C-8D4D-0ED37D5CF793}" type="pres">
      <dgm:prSet presAssocID="{C68358D2-4306-4554-A14A-8FC7DBBB7C1B}" presName="ConnectorPoint" presStyleLbl="lnNode1" presStyleIdx="1"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987D4BA7-D094-4170-AD90-7E1D9C6121CB}" type="pres">
      <dgm:prSet presAssocID="{C68358D2-4306-4554-A14A-8FC7DBBB7C1B}" presName="DropPinPlaceHolder" presStyleCnt="0"/>
      <dgm:spPr/>
    </dgm:pt>
    <dgm:pt modelId="{44495A5E-F38B-429C-84C6-A8D52049072E}" type="pres">
      <dgm:prSet presAssocID="{C68358D2-4306-4554-A14A-8FC7DBBB7C1B}" presName="DropPin" presStyleLbl="alignNode1" presStyleIdx="1" presStyleCnt="3"/>
      <dgm:spPr/>
    </dgm:pt>
    <dgm:pt modelId="{DD43ECB0-F122-4847-AEEB-F5E7E6E924CC}" type="pres">
      <dgm:prSet presAssocID="{C68358D2-4306-4554-A14A-8FC7DBBB7C1B}" presName="Ellipse" presStyleLbl="fgAcc1" presStyleIdx="2" presStyleCnt="4"/>
      <dgm:spPr>
        <a:solidFill>
          <a:schemeClr val="lt1">
            <a:alpha val="90000"/>
            <a:hueOff val="0"/>
            <a:satOff val="0"/>
            <a:lumOff val="0"/>
            <a:alphaOff val="0"/>
          </a:schemeClr>
        </a:solidFill>
        <a:ln w="12700" cap="flat" cmpd="sng" algn="ctr">
          <a:noFill/>
          <a:prstDash val="solid"/>
          <a:miter lim="800000"/>
        </a:ln>
        <a:effectLst/>
      </dgm:spPr>
    </dgm:pt>
    <dgm:pt modelId="{4D4BAEDF-9B43-4046-ACA0-03F3E2FE2705}" type="pres">
      <dgm:prSet presAssocID="{C68358D2-4306-4554-A14A-8FC7DBBB7C1B}" presName="L2TextContainer" presStyleLbl="revTx" presStyleIdx="2" presStyleCnt="6">
        <dgm:presLayoutVars>
          <dgm:bulletEnabled val="1"/>
        </dgm:presLayoutVars>
      </dgm:prSet>
      <dgm:spPr/>
    </dgm:pt>
    <dgm:pt modelId="{8B16D5F0-AE1B-4DA1-A2EA-B84E026E857C}" type="pres">
      <dgm:prSet presAssocID="{C68358D2-4306-4554-A14A-8FC7DBBB7C1B}" presName="L1TextContainer" presStyleLbl="revTx" presStyleIdx="3" presStyleCnt="6">
        <dgm:presLayoutVars>
          <dgm:chMax val="1"/>
          <dgm:chPref val="1"/>
          <dgm:bulletEnabled val="1"/>
        </dgm:presLayoutVars>
      </dgm:prSet>
      <dgm:spPr/>
    </dgm:pt>
    <dgm:pt modelId="{B193B45C-4566-41D3-9A4A-21ADCA305D4D}" type="pres">
      <dgm:prSet presAssocID="{C68358D2-4306-4554-A14A-8FC7DBBB7C1B}" presName="ConnectLine" presStyleLbl="sibTrans1D1" presStyleIdx="1" presStyleCnt="3"/>
      <dgm:spPr>
        <a:noFill/>
        <a:ln w="12700" cap="flat" cmpd="sng" algn="ctr">
          <a:solidFill>
            <a:schemeClr val="accent1">
              <a:hueOff val="0"/>
              <a:satOff val="0"/>
              <a:lumOff val="0"/>
              <a:alphaOff val="0"/>
            </a:schemeClr>
          </a:solidFill>
          <a:prstDash val="dash"/>
          <a:miter lim="800000"/>
        </a:ln>
        <a:effectLst/>
      </dgm:spPr>
    </dgm:pt>
    <dgm:pt modelId="{F9FF9F3D-9A6B-450C-A2CD-2A40F6EADB3C}" type="pres">
      <dgm:prSet presAssocID="{C68358D2-4306-4554-A14A-8FC7DBBB7C1B}" presName="EmptyPlaceHolder" presStyleCnt="0"/>
      <dgm:spPr/>
    </dgm:pt>
    <dgm:pt modelId="{081A8805-5F9E-49C1-90AA-CDB06DDF7BE3}" type="pres">
      <dgm:prSet presAssocID="{1F68BFA9-F9B7-4439-B641-957F42622747}" presName="spaceBetweenRectangles" presStyleCnt="0"/>
      <dgm:spPr/>
    </dgm:pt>
    <dgm:pt modelId="{5E754E02-C3E4-4628-9EE0-8AD545246484}" type="pres">
      <dgm:prSet presAssocID="{CDC0470F-46E1-4354-86D2-645ADD375431}" presName="composite" presStyleCnt="0"/>
      <dgm:spPr/>
    </dgm:pt>
    <dgm:pt modelId="{066C06A6-E09D-4DD5-ACEC-53655F6538DC}" type="pres">
      <dgm:prSet presAssocID="{CDC0470F-46E1-4354-86D2-645ADD375431}" presName="ConnectorPoint" presStyleLbl="lnNode1" presStyleIdx="2"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CBEA0475-736C-4F6A-883D-F14DF18BCF4D}" type="pres">
      <dgm:prSet presAssocID="{CDC0470F-46E1-4354-86D2-645ADD375431}" presName="DropPinPlaceHolder" presStyleCnt="0"/>
      <dgm:spPr/>
    </dgm:pt>
    <dgm:pt modelId="{E1E2E6FD-F4ED-4206-A9AB-894934ED8241}" type="pres">
      <dgm:prSet presAssocID="{CDC0470F-46E1-4354-86D2-645ADD375431}" presName="DropPin" presStyleLbl="alignNode1" presStyleIdx="2" presStyleCnt="3"/>
      <dgm:spPr/>
    </dgm:pt>
    <dgm:pt modelId="{0D80C27D-F5FA-47DB-A434-17F29E51534B}" type="pres">
      <dgm:prSet presAssocID="{CDC0470F-46E1-4354-86D2-645ADD375431}" presName="Ellipse" presStyleLbl="fgAcc1" presStyleIdx="3" presStyleCnt="4"/>
      <dgm:spPr>
        <a:solidFill>
          <a:schemeClr val="lt1">
            <a:alpha val="90000"/>
            <a:hueOff val="0"/>
            <a:satOff val="0"/>
            <a:lumOff val="0"/>
            <a:alphaOff val="0"/>
          </a:schemeClr>
        </a:solidFill>
        <a:ln w="12700" cap="flat" cmpd="sng" algn="ctr">
          <a:noFill/>
          <a:prstDash val="solid"/>
          <a:miter lim="800000"/>
        </a:ln>
        <a:effectLst/>
      </dgm:spPr>
    </dgm:pt>
    <dgm:pt modelId="{5F8AC426-983B-4A21-935E-0D4729A489DD}" type="pres">
      <dgm:prSet presAssocID="{CDC0470F-46E1-4354-86D2-645ADD375431}" presName="L2TextContainer" presStyleLbl="revTx" presStyleIdx="4" presStyleCnt="6">
        <dgm:presLayoutVars>
          <dgm:bulletEnabled val="1"/>
        </dgm:presLayoutVars>
      </dgm:prSet>
      <dgm:spPr/>
    </dgm:pt>
    <dgm:pt modelId="{9EB121DB-5CB9-418C-A148-369D6714908A}" type="pres">
      <dgm:prSet presAssocID="{CDC0470F-46E1-4354-86D2-645ADD375431}" presName="L1TextContainer" presStyleLbl="revTx" presStyleIdx="5" presStyleCnt="6">
        <dgm:presLayoutVars>
          <dgm:chMax val="1"/>
          <dgm:chPref val="1"/>
          <dgm:bulletEnabled val="1"/>
        </dgm:presLayoutVars>
      </dgm:prSet>
      <dgm:spPr/>
    </dgm:pt>
    <dgm:pt modelId="{6E7CFBAD-F89B-4733-9F9E-34315AB3EA63}" type="pres">
      <dgm:prSet presAssocID="{CDC0470F-46E1-4354-86D2-645ADD375431}" presName="ConnectLine" presStyleLbl="sibTrans1D1" presStyleIdx="2" presStyleCnt="3"/>
      <dgm:spPr>
        <a:noFill/>
        <a:ln w="12700" cap="flat" cmpd="sng" algn="ctr">
          <a:solidFill>
            <a:schemeClr val="accent1">
              <a:hueOff val="0"/>
              <a:satOff val="0"/>
              <a:lumOff val="0"/>
              <a:alphaOff val="0"/>
            </a:schemeClr>
          </a:solidFill>
          <a:prstDash val="dash"/>
          <a:miter lim="800000"/>
        </a:ln>
        <a:effectLst/>
      </dgm:spPr>
    </dgm:pt>
    <dgm:pt modelId="{EB2C80F3-E289-45EC-8E75-4A52EF13126D}" type="pres">
      <dgm:prSet presAssocID="{CDC0470F-46E1-4354-86D2-645ADD375431}" presName="EmptyPlaceHolder" presStyleCnt="0"/>
      <dgm:spPr/>
    </dgm:pt>
  </dgm:ptLst>
  <dgm:cxnLst>
    <dgm:cxn modelId="{4B6A4F0B-1DC4-4C9E-9862-2A3D9DA35B23}" srcId="{CDC0470F-46E1-4354-86D2-645ADD375431}" destId="{C0C01CFA-E37C-4E2F-99EB-9C8A55F202C9}" srcOrd="1" destOrd="0" parTransId="{836F2278-F9F2-44DE-8AFA-3C432902095B}" sibTransId="{6311638E-63FF-443B-9EB0-9AC565929B94}"/>
    <dgm:cxn modelId="{13B67E21-4512-48A1-94C3-4705A3346789}" type="presOf" srcId="{DC16AE23-299D-44FE-BB20-972D5BCE9877}" destId="{509F055C-3361-4FF7-9EA0-22F5CED4593A}" srcOrd="0" destOrd="0" presId="urn:microsoft.com/office/officeart/2017/3/layout/DropPinTimeline"/>
    <dgm:cxn modelId="{71D35E3D-4F80-4EC6-A3E3-4A21187C16E2}" type="presOf" srcId="{79AA135E-C371-42DA-AEB9-6C6D565D5A99}" destId="{5F8AC426-983B-4A21-935E-0D4729A489DD}" srcOrd="0" destOrd="0" presId="urn:microsoft.com/office/officeart/2017/3/layout/DropPinTimeline"/>
    <dgm:cxn modelId="{3BF8F942-150A-42E4-8592-6D4370A90358}" srcId="{C68358D2-4306-4554-A14A-8FC7DBBB7C1B}" destId="{E9D8CC5F-0ECF-4775-A828-EABEE1B1FB14}" srcOrd="0" destOrd="0" parTransId="{840E341B-3C5E-498B-BAF8-7F0CFC62CAA6}" sibTransId="{5AF2EE54-E46D-4B38-B699-F5AE6762F61F}"/>
    <dgm:cxn modelId="{BA31E96C-E0D2-445F-A722-0F931204C2AD}" srcId="{CDC0470F-46E1-4354-86D2-645ADD375431}" destId="{79AA135E-C371-42DA-AEB9-6C6D565D5A99}" srcOrd="0" destOrd="0" parTransId="{753A79FA-9FFB-420C-B023-9807F289F9ED}" sibTransId="{88BC5B79-4D5F-476A-B98D-60FF901CC808}"/>
    <dgm:cxn modelId="{00E5FB6D-0C3C-49DC-8783-64F75F544B53}" type="presOf" srcId="{1A849428-1840-4F54-9D98-57368AE2A0FE}" destId="{5706A72C-EE91-4062-9073-A341A8F8E7A7}" srcOrd="0" destOrd="0" presId="urn:microsoft.com/office/officeart/2017/3/layout/DropPinTimeline"/>
    <dgm:cxn modelId="{9EAEAC53-4946-4C7A-A9F8-B885C9140389}" srcId="{1A849428-1840-4F54-9D98-57368AE2A0FE}" destId="{DC16AE23-299D-44FE-BB20-972D5BCE9877}" srcOrd="0" destOrd="0" parTransId="{D1D868C9-29E5-4E46-AAF4-51E24F2F7073}" sibTransId="{0C418295-FC07-482D-92B5-9009679BAF43}"/>
    <dgm:cxn modelId="{30323459-E4F5-49A7-8B8F-C5A095D4701D}" srcId="{1A849428-1840-4F54-9D98-57368AE2A0FE}" destId="{CDC0470F-46E1-4354-86D2-645ADD375431}" srcOrd="2" destOrd="0" parTransId="{02286A3B-8881-405A-AD71-AD38ED815847}" sibTransId="{B5DFB23E-F7B3-4DE2-B71E-370F18FB699C}"/>
    <dgm:cxn modelId="{EC124782-52D4-4731-8140-4607F7716F05}" type="presOf" srcId="{C68358D2-4306-4554-A14A-8FC7DBBB7C1B}" destId="{8B16D5F0-AE1B-4DA1-A2EA-B84E026E857C}" srcOrd="0" destOrd="0" presId="urn:microsoft.com/office/officeart/2017/3/layout/DropPinTimeline"/>
    <dgm:cxn modelId="{B734649C-B0A1-49AE-B41C-8CBD1080ACAE}" srcId="{DC16AE23-299D-44FE-BB20-972D5BCE9877}" destId="{6E61235D-3E9F-474A-A680-62E2DFDACF30}" srcOrd="1" destOrd="0" parTransId="{186B626A-18C8-4908-B310-2A7FE4A87773}" sibTransId="{2A4F3783-47BA-4FB9-A814-0FA7BAD97235}"/>
    <dgm:cxn modelId="{919920B0-3E1B-4789-B2D8-311CBBA7E343}" type="presOf" srcId="{CDC0470F-46E1-4354-86D2-645ADD375431}" destId="{9EB121DB-5CB9-418C-A148-369D6714908A}" srcOrd="0" destOrd="0" presId="urn:microsoft.com/office/officeart/2017/3/layout/DropPinTimeline"/>
    <dgm:cxn modelId="{F5F6D9C6-5BEA-4AE2-BDE6-4F5A140144F3}" srcId="{1A849428-1840-4F54-9D98-57368AE2A0FE}" destId="{C68358D2-4306-4554-A14A-8FC7DBBB7C1B}" srcOrd="1" destOrd="0" parTransId="{F1F61284-1CDC-4035-A8F2-00692FE630D0}" sibTransId="{1F68BFA9-F9B7-4439-B641-957F42622747}"/>
    <dgm:cxn modelId="{E55E66C7-76C6-401B-BF4D-86F73C03D7FF}" srcId="{DC16AE23-299D-44FE-BB20-972D5BCE9877}" destId="{96F003CD-479C-4AA8-B45B-9B666BF37DB6}" srcOrd="0" destOrd="0" parTransId="{992D42F4-ED9B-4B87-BA49-9C233FDAC240}" sibTransId="{CDC76BF9-023C-47FA-BBEF-BC9794C4460F}"/>
    <dgm:cxn modelId="{A1F4B0C8-445E-4ACF-9E49-AAADF466A879}" srcId="{C68358D2-4306-4554-A14A-8FC7DBBB7C1B}" destId="{1EA20000-C8B9-419C-8FED-D3D18AE930A0}" srcOrd="1" destOrd="0" parTransId="{AFFD8269-039A-4674-9BEB-E613EF5DED92}" sibTransId="{BE434DA9-AD73-4865-8AF2-8256F811741E}"/>
    <dgm:cxn modelId="{84BE80CF-D14C-41B2-B5EC-D37755077A6A}" type="presOf" srcId="{C0C01CFA-E37C-4E2F-99EB-9C8A55F202C9}" destId="{5F8AC426-983B-4A21-935E-0D4729A489DD}" srcOrd="0" destOrd="1" presId="urn:microsoft.com/office/officeart/2017/3/layout/DropPinTimeline"/>
    <dgm:cxn modelId="{97B0E9CF-E3A7-47FE-8960-FDF823442EA2}" type="presOf" srcId="{96F003CD-479C-4AA8-B45B-9B666BF37DB6}" destId="{42EA532C-2BD4-4561-8504-5CF4BC729778}" srcOrd="0" destOrd="0" presId="urn:microsoft.com/office/officeart/2017/3/layout/DropPinTimeline"/>
    <dgm:cxn modelId="{B4946AE0-7A4F-4E70-89A1-65AFBAB0DD61}" type="presOf" srcId="{6E61235D-3E9F-474A-A680-62E2DFDACF30}" destId="{42EA532C-2BD4-4561-8504-5CF4BC729778}" srcOrd="0" destOrd="1" presId="urn:microsoft.com/office/officeart/2017/3/layout/DropPinTimeline"/>
    <dgm:cxn modelId="{C9B933E4-A317-4E5B-B79A-139B6BCF8626}" type="presOf" srcId="{1EA20000-C8B9-419C-8FED-D3D18AE930A0}" destId="{4D4BAEDF-9B43-4046-ACA0-03F3E2FE2705}" srcOrd="0" destOrd="1" presId="urn:microsoft.com/office/officeart/2017/3/layout/DropPinTimeline"/>
    <dgm:cxn modelId="{7469A4E7-37CB-49F5-B35F-45D3A9F93778}" type="presOf" srcId="{E9D8CC5F-0ECF-4775-A828-EABEE1B1FB14}" destId="{4D4BAEDF-9B43-4046-ACA0-03F3E2FE2705}" srcOrd="0" destOrd="0" presId="urn:microsoft.com/office/officeart/2017/3/layout/DropPinTimeline"/>
    <dgm:cxn modelId="{B90DF83C-1514-4FAA-947A-84ECDACF6ABF}" type="presParOf" srcId="{5706A72C-EE91-4062-9073-A341A8F8E7A7}" destId="{77980041-B44D-413D-9F10-BBAB9BE688C9}" srcOrd="0" destOrd="0" presId="urn:microsoft.com/office/officeart/2017/3/layout/DropPinTimeline"/>
    <dgm:cxn modelId="{FF5FFFF7-AFE4-4370-A71F-7DD919A77A59}" type="presParOf" srcId="{5706A72C-EE91-4062-9073-A341A8F8E7A7}" destId="{44B846C2-EC84-443A-BC49-18808E97B049}" srcOrd="1" destOrd="0" presId="urn:microsoft.com/office/officeart/2017/3/layout/DropPinTimeline"/>
    <dgm:cxn modelId="{74CC3C1C-A092-4816-961E-70E3AEA1B893}" type="presParOf" srcId="{44B846C2-EC84-443A-BC49-18808E97B049}" destId="{8F885AA1-5851-4079-AF81-6CE92DBDE06F}" srcOrd="0" destOrd="0" presId="urn:microsoft.com/office/officeart/2017/3/layout/DropPinTimeline"/>
    <dgm:cxn modelId="{EC01D373-D80C-4C63-AAE2-6B26705D6B83}" type="presParOf" srcId="{8F885AA1-5851-4079-AF81-6CE92DBDE06F}" destId="{F29BA4BA-B7E8-4504-9DCF-3C32A8BE5FFF}" srcOrd="0" destOrd="0" presId="urn:microsoft.com/office/officeart/2017/3/layout/DropPinTimeline"/>
    <dgm:cxn modelId="{73C7B788-7981-49CA-8ED8-6D6E264D4152}" type="presParOf" srcId="{8F885AA1-5851-4079-AF81-6CE92DBDE06F}" destId="{1B861CD1-8AD0-4E68-8A67-75D0FACE9E5C}" srcOrd="1" destOrd="0" presId="urn:microsoft.com/office/officeart/2017/3/layout/DropPinTimeline"/>
    <dgm:cxn modelId="{7CFDB541-E176-47F3-9BEB-73BF424F7F29}" type="presParOf" srcId="{1B861CD1-8AD0-4E68-8A67-75D0FACE9E5C}" destId="{702BB5D6-9EBC-4F8A-87C2-1AE6B20E7948}" srcOrd="0" destOrd="0" presId="urn:microsoft.com/office/officeart/2017/3/layout/DropPinTimeline"/>
    <dgm:cxn modelId="{D709AED5-948B-4E61-8D66-336E7EF0629B}" type="presParOf" srcId="{1B861CD1-8AD0-4E68-8A67-75D0FACE9E5C}" destId="{AE5ADAB1-7461-41DA-825A-703017B560EE}" srcOrd="1" destOrd="0" presId="urn:microsoft.com/office/officeart/2017/3/layout/DropPinTimeline"/>
    <dgm:cxn modelId="{62F5E3B5-1069-402F-9E3B-3F986F4CE823}" type="presParOf" srcId="{8F885AA1-5851-4079-AF81-6CE92DBDE06F}" destId="{42EA532C-2BD4-4561-8504-5CF4BC729778}" srcOrd="2" destOrd="0" presId="urn:microsoft.com/office/officeart/2017/3/layout/DropPinTimeline"/>
    <dgm:cxn modelId="{4C1A61F7-4966-49DA-AD0A-665E890532FC}" type="presParOf" srcId="{8F885AA1-5851-4079-AF81-6CE92DBDE06F}" destId="{509F055C-3361-4FF7-9EA0-22F5CED4593A}" srcOrd="3" destOrd="0" presId="urn:microsoft.com/office/officeart/2017/3/layout/DropPinTimeline"/>
    <dgm:cxn modelId="{69BECA04-22C7-4CCC-B10F-9127B1EACE2F}" type="presParOf" srcId="{8F885AA1-5851-4079-AF81-6CE92DBDE06F}" destId="{B131210C-93C1-436E-8B52-6A014E18DEA9}" srcOrd="4" destOrd="0" presId="urn:microsoft.com/office/officeart/2017/3/layout/DropPinTimeline"/>
    <dgm:cxn modelId="{07B206EB-6BD0-43D8-B067-1046A2255D52}" type="presParOf" srcId="{8F885AA1-5851-4079-AF81-6CE92DBDE06F}" destId="{1FA30B49-250A-4879-A314-7B53A0AA1389}" srcOrd="5" destOrd="0" presId="urn:microsoft.com/office/officeart/2017/3/layout/DropPinTimeline"/>
    <dgm:cxn modelId="{FC19BA34-40A9-476E-ABD2-C9FF99D9F7A7}" type="presParOf" srcId="{44B846C2-EC84-443A-BC49-18808E97B049}" destId="{BF4D3E8A-5CBE-4BCD-8684-8D78DB89F98A}" srcOrd="1" destOrd="0" presId="urn:microsoft.com/office/officeart/2017/3/layout/DropPinTimeline"/>
    <dgm:cxn modelId="{717A00FF-0B7D-487B-969D-3582A1974B46}" type="presParOf" srcId="{44B846C2-EC84-443A-BC49-18808E97B049}" destId="{E3601A39-5B38-4F48-A06E-CB9C6F21296D}" srcOrd="2" destOrd="0" presId="urn:microsoft.com/office/officeart/2017/3/layout/DropPinTimeline"/>
    <dgm:cxn modelId="{9B9EA4CF-CC4D-4988-9266-E37C375BA93B}" type="presParOf" srcId="{E3601A39-5B38-4F48-A06E-CB9C6F21296D}" destId="{000DDD25-D4FB-428C-8D4D-0ED37D5CF793}" srcOrd="0" destOrd="0" presId="urn:microsoft.com/office/officeart/2017/3/layout/DropPinTimeline"/>
    <dgm:cxn modelId="{CADE2DAC-CB10-4924-8750-90DF65C51F85}" type="presParOf" srcId="{E3601A39-5B38-4F48-A06E-CB9C6F21296D}" destId="{987D4BA7-D094-4170-AD90-7E1D9C6121CB}" srcOrd="1" destOrd="0" presId="urn:microsoft.com/office/officeart/2017/3/layout/DropPinTimeline"/>
    <dgm:cxn modelId="{B69CD8F2-EB1F-4C68-B710-60EA0F37AD51}" type="presParOf" srcId="{987D4BA7-D094-4170-AD90-7E1D9C6121CB}" destId="{44495A5E-F38B-429C-84C6-A8D52049072E}" srcOrd="0" destOrd="0" presId="urn:microsoft.com/office/officeart/2017/3/layout/DropPinTimeline"/>
    <dgm:cxn modelId="{22FBF4FB-9C95-4BA3-BCFB-0CE3B5C6A345}" type="presParOf" srcId="{987D4BA7-D094-4170-AD90-7E1D9C6121CB}" destId="{DD43ECB0-F122-4847-AEEB-F5E7E6E924CC}" srcOrd="1" destOrd="0" presId="urn:microsoft.com/office/officeart/2017/3/layout/DropPinTimeline"/>
    <dgm:cxn modelId="{96DB0FF2-764B-46A4-9E10-972087023800}" type="presParOf" srcId="{E3601A39-5B38-4F48-A06E-CB9C6F21296D}" destId="{4D4BAEDF-9B43-4046-ACA0-03F3E2FE2705}" srcOrd="2" destOrd="0" presId="urn:microsoft.com/office/officeart/2017/3/layout/DropPinTimeline"/>
    <dgm:cxn modelId="{A0879EEA-2A27-4ED2-ACC3-72AEF52AAF5A}" type="presParOf" srcId="{E3601A39-5B38-4F48-A06E-CB9C6F21296D}" destId="{8B16D5F0-AE1B-4DA1-A2EA-B84E026E857C}" srcOrd="3" destOrd="0" presId="urn:microsoft.com/office/officeart/2017/3/layout/DropPinTimeline"/>
    <dgm:cxn modelId="{DB5D6B68-7E80-4B10-9E75-FD9194322538}" type="presParOf" srcId="{E3601A39-5B38-4F48-A06E-CB9C6F21296D}" destId="{B193B45C-4566-41D3-9A4A-21ADCA305D4D}" srcOrd="4" destOrd="0" presId="urn:microsoft.com/office/officeart/2017/3/layout/DropPinTimeline"/>
    <dgm:cxn modelId="{DBAAD03A-91DB-45E9-8F8F-F1BA3FE53803}" type="presParOf" srcId="{E3601A39-5B38-4F48-A06E-CB9C6F21296D}" destId="{F9FF9F3D-9A6B-450C-A2CD-2A40F6EADB3C}" srcOrd="5" destOrd="0" presId="urn:microsoft.com/office/officeart/2017/3/layout/DropPinTimeline"/>
    <dgm:cxn modelId="{5AD200D0-4D98-4969-8074-101C37C714E2}" type="presParOf" srcId="{44B846C2-EC84-443A-BC49-18808E97B049}" destId="{081A8805-5F9E-49C1-90AA-CDB06DDF7BE3}" srcOrd="3" destOrd="0" presId="urn:microsoft.com/office/officeart/2017/3/layout/DropPinTimeline"/>
    <dgm:cxn modelId="{90773408-E647-4430-BD8B-41B1D58C0849}" type="presParOf" srcId="{44B846C2-EC84-443A-BC49-18808E97B049}" destId="{5E754E02-C3E4-4628-9EE0-8AD545246484}" srcOrd="4" destOrd="0" presId="urn:microsoft.com/office/officeart/2017/3/layout/DropPinTimeline"/>
    <dgm:cxn modelId="{6EE390C0-3781-45DA-BBB7-44B6FD75147A}" type="presParOf" srcId="{5E754E02-C3E4-4628-9EE0-8AD545246484}" destId="{066C06A6-E09D-4DD5-ACEC-53655F6538DC}" srcOrd="0" destOrd="0" presId="urn:microsoft.com/office/officeart/2017/3/layout/DropPinTimeline"/>
    <dgm:cxn modelId="{385FE881-65D5-4BD5-B3E7-F44C18791F88}" type="presParOf" srcId="{5E754E02-C3E4-4628-9EE0-8AD545246484}" destId="{CBEA0475-736C-4F6A-883D-F14DF18BCF4D}" srcOrd="1" destOrd="0" presId="urn:microsoft.com/office/officeart/2017/3/layout/DropPinTimeline"/>
    <dgm:cxn modelId="{92F51BF2-568C-46A3-AC44-678FEFDC80DD}" type="presParOf" srcId="{CBEA0475-736C-4F6A-883D-F14DF18BCF4D}" destId="{E1E2E6FD-F4ED-4206-A9AB-894934ED8241}" srcOrd="0" destOrd="0" presId="urn:microsoft.com/office/officeart/2017/3/layout/DropPinTimeline"/>
    <dgm:cxn modelId="{1F1193F5-5B19-4B62-8335-64284038F29D}" type="presParOf" srcId="{CBEA0475-736C-4F6A-883D-F14DF18BCF4D}" destId="{0D80C27D-F5FA-47DB-A434-17F29E51534B}" srcOrd="1" destOrd="0" presId="urn:microsoft.com/office/officeart/2017/3/layout/DropPinTimeline"/>
    <dgm:cxn modelId="{F1187F79-B384-4CB7-93F3-1ED75212A99A}" type="presParOf" srcId="{5E754E02-C3E4-4628-9EE0-8AD545246484}" destId="{5F8AC426-983B-4A21-935E-0D4729A489DD}" srcOrd="2" destOrd="0" presId="urn:microsoft.com/office/officeart/2017/3/layout/DropPinTimeline"/>
    <dgm:cxn modelId="{147B8135-D899-4288-B87D-9EDB58973435}" type="presParOf" srcId="{5E754E02-C3E4-4628-9EE0-8AD545246484}" destId="{9EB121DB-5CB9-418C-A148-369D6714908A}" srcOrd="3" destOrd="0" presId="urn:microsoft.com/office/officeart/2017/3/layout/DropPinTimeline"/>
    <dgm:cxn modelId="{33A32FE2-F15B-4FD3-96D0-4042167EFA2E}" type="presParOf" srcId="{5E754E02-C3E4-4628-9EE0-8AD545246484}" destId="{6E7CFBAD-F89B-4733-9F9E-34315AB3EA63}" srcOrd="4" destOrd="0" presId="urn:microsoft.com/office/officeart/2017/3/layout/DropPinTimeline"/>
    <dgm:cxn modelId="{7155A6C2-F09A-4AE6-821E-342ECB8176D3}" type="presParOf" srcId="{5E754E02-C3E4-4628-9EE0-8AD545246484}" destId="{EB2C80F3-E289-45EC-8E75-4A52EF13126D}"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AE7FE3-2773-4EE6-A957-B078324A11FE}">
      <dsp:nvSpPr>
        <dsp:cNvPr id="0" name=""/>
        <dsp:cNvSpPr/>
      </dsp:nvSpPr>
      <dsp:spPr>
        <a:xfrm>
          <a:off x="0" y="254105"/>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rtl="0">
            <a:lnSpc>
              <a:spcPct val="90000"/>
            </a:lnSpc>
            <a:spcBef>
              <a:spcPct val="0"/>
            </a:spcBef>
            <a:spcAft>
              <a:spcPct val="15000"/>
            </a:spcAft>
            <a:buNone/>
          </a:pPr>
          <a:r>
            <a:rPr lang="fr-BE" sz="1600" kern="1200" err="1"/>
            <a:t>Executive</a:t>
          </a:r>
          <a:r>
            <a:rPr lang="fr-BE" sz="1600" kern="1200"/>
            <a:t> </a:t>
          </a:r>
          <a:r>
            <a:rPr lang="fr-BE" sz="1600" kern="1200" err="1"/>
            <a:t>Director</a:t>
          </a:r>
          <a:r>
            <a:rPr lang="fr-BE" sz="1600" kern="1200"/>
            <a:t> </a:t>
          </a:r>
          <a:r>
            <a:rPr lang="en-GB" sz="1600" b="0" i="0" kern="1200"/>
            <a:t>| ERA</a:t>
          </a:r>
          <a:r>
            <a:rPr lang="fr-BE" sz="1600" kern="1200">
              <a:latin typeface="Calibri Light" panose="020F0302020204030204"/>
            </a:rPr>
            <a:t> </a:t>
          </a:r>
          <a:r>
            <a:rPr lang="fr-BE" sz="1600" kern="1200"/>
            <a:t> 	</a:t>
          </a:r>
          <a:endParaRPr lang="en-GB" sz="1600" kern="1200"/>
        </a:p>
      </dsp:txBody>
      <dsp:txXfrm>
        <a:off x="0" y="254105"/>
        <a:ext cx="11610975" cy="571725"/>
      </dsp:txXfrm>
    </dsp:sp>
    <dsp:sp modelId="{1408A262-8D5E-4823-A211-C85ECF293771}">
      <dsp:nvSpPr>
        <dsp:cNvPr id="0" name=""/>
        <dsp:cNvSpPr/>
      </dsp:nvSpPr>
      <dsp:spPr>
        <a:xfrm>
          <a:off x="580548" y="91745"/>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fr-BE" sz="2000" kern="1200"/>
            <a:t>Josef </a:t>
          </a:r>
          <a:r>
            <a:rPr lang="fr-BE" sz="2000" kern="1200" err="1"/>
            <a:t>Doppelbauer</a:t>
          </a:r>
          <a:endParaRPr lang="en-GB" sz="2000" kern="1200" err="1"/>
        </a:p>
      </dsp:txBody>
      <dsp:txXfrm>
        <a:off x="596400" y="107597"/>
        <a:ext cx="8095978" cy="293016"/>
      </dsp:txXfrm>
    </dsp:sp>
    <dsp:sp modelId="{5E16760C-9002-4AD2-8FC9-6D0314027DF0}">
      <dsp:nvSpPr>
        <dsp:cNvPr id="0" name=""/>
        <dsp:cNvSpPr/>
      </dsp:nvSpPr>
      <dsp:spPr>
        <a:xfrm>
          <a:off x="0" y="1047590"/>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a:lnSpc>
              <a:spcPct val="90000"/>
            </a:lnSpc>
            <a:spcBef>
              <a:spcPct val="0"/>
            </a:spcBef>
            <a:spcAft>
              <a:spcPct val="15000"/>
            </a:spcAft>
            <a:buNone/>
          </a:pPr>
          <a:r>
            <a:rPr lang="fr-BE" sz="1600" kern="1200"/>
            <a:t>Project </a:t>
          </a:r>
          <a:r>
            <a:rPr lang="fr-BE" sz="1600" kern="1200" err="1"/>
            <a:t>Officer</a:t>
          </a:r>
          <a:r>
            <a:rPr lang="fr-BE" sz="1600" kern="1200"/>
            <a:t> | ERA</a:t>
          </a:r>
          <a:endParaRPr lang="en-GB" sz="1600" kern="1200"/>
        </a:p>
      </dsp:txBody>
      <dsp:txXfrm>
        <a:off x="0" y="1047590"/>
        <a:ext cx="11610975" cy="571725"/>
      </dsp:txXfrm>
    </dsp:sp>
    <dsp:sp modelId="{BD4A7DD0-585F-48B2-B155-33A3A045A447}">
      <dsp:nvSpPr>
        <dsp:cNvPr id="0" name=""/>
        <dsp:cNvSpPr/>
      </dsp:nvSpPr>
      <dsp:spPr>
        <a:xfrm>
          <a:off x="580548" y="885230"/>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fr-BE" sz="2000" kern="1200"/>
            <a:t>Nathalie </a:t>
          </a:r>
          <a:r>
            <a:rPr lang="fr-BE" sz="2000" kern="1200" err="1"/>
            <a:t>Namavar</a:t>
          </a:r>
          <a:endParaRPr lang="en-GB" sz="2000" kern="1200"/>
        </a:p>
      </dsp:txBody>
      <dsp:txXfrm>
        <a:off x="596400" y="901082"/>
        <a:ext cx="8095978" cy="293016"/>
      </dsp:txXfrm>
    </dsp:sp>
    <dsp:sp modelId="{9B4E49C2-FA40-4DF7-9786-A7414D4E58D9}">
      <dsp:nvSpPr>
        <dsp:cNvPr id="0" name=""/>
        <dsp:cNvSpPr/>
      </dsp:nvSpPr>
      <dsp:spPr>
        <a:xfrm>
          <a:off x="0" y="1840824"/>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rtl="0">
            <a:lnSpc>
              <a:spcPct val="90000"/>
            </a:lnSpc>
            <a:spcBef>
              <a:spcPct val="0"/>
            </a:spcBef>
            <a:spcAft>
              <a:spcPct val="15000"/>
            </a:spcAft>
            <a:buNone/>
          </a:pPr>
          <a:r>
            <a:rPr lang="fr-BE" sz="1600" b="0" i="0" kern="1200">
              <a:solidFill>
                <a:prstClr val="black">
                  <a:hueOff val="0"/>
                  <a:satOff val="0"/>
                  <a:lumOff val="0"/>
                  <a:alphaOff val="0"/>
                </a:prstClr>
              </a:solidFill>
              <a:latin typeface="Calibri (body)"/>
              <a:ea typeface="+mn-ea"/>
              <a:cs typeface="+mn-cs"/>
            </a:rPr>
            <a:t>Head of CAP Unit </a:t>
          </a:r>
          <a:r>
            <a:rPr lang="en-GB" sz="1600" b="0" i="0" kern="1200">
              <a:solidFill>
                <a:prstClr val="black">
                  <a:hueOff val="0"/>
                  <a:satOff val="0"/>
                  <a:lumOff val="0"/>
                  <a:alphaOff val="0"/>
                </a:prstClr>
              </a:solidFill>
              <a:latin typeface="Calibri" panose="020F0502020204030204"/>
              <a:ea typeface="+mn-ea"/>
              <a:cs typeface="+mn-cs"/>
            </a:rPr>
            <a:t>| </a:t>
          </a:r>
          <a:r>
            <a:rPr lang="en-GB" sz="1600" b="0" i="0" kern="1200"/>
            <a:t>ERA</a:t>
          </a:r>
          <a:endParaRPr lang="en-GB" sz="1600" kern="1200"/>
        </a:p>
      </dsp:txBody>
      <dsp:txXfrm>
        <a:off x="0" y="1840824"/>
        <a:ext cx="11610975" cy="571725"/>
      </dsp:txXfrm>
    </dsp:sp>
    <dsp:sp modelId="{830A9914-5803-4AB2-89A0-EDE778BFB296}">
      <dsp:nvSpPr>
        <dsp:cNvPr id="0" name=""/>
        <dsp:cNvSpPr/>
      </dsp:nvSpPr>
      <dsp:spPr>
        <a:xfrm>
          <a:off x="580548" y="1678715"/>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en-GB" sz="2000" b="0" i="0" kern="1200"/>
            <a:t>Oana </a:t>
          </a:r>
          <a:r>
            <a:rPr lang="en-GB" sz="2000" b="0" i="0" kern="1200" err="1"/>
            <a:t>Gherghinescu</a:t>
          </a:r>
          <a:endParaRPr lang="en-GB" sz="2000" kern="1200"/>
        </a:p>
      </dsp:txBody>
      <dsp:txXfrm>
        <a:off x="596400" y="1694567"/>
        <a:ext cx="8095978" cy="293016"/>
      </dsp:txXfrm>
    </dsp:sp>
    <dsp:sp modelId="{E20CFEF9-BE59-4999-90B9-136A365A3026}">
      <dsp:nvSpPr>
        <dsp:cNvPr id="0" name=""/>
        <dsp:cNvSpPr/>
      </dsp:nvSpPr>
      <dsp:spPr>
        <a:xfrm>
          <a:off x="0" y="2634561"/>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a:lnSpc>
              <a:spcPct val="90000"/>
            </a:lnSpc>
            <a:spcBef>
              <a:spcPct val="0"/>
            </a:spcBef>
            <a:spcAft>
              <a:spcPct val="15000"/>
            </a:spcAft>
            <a:buNone/>
          </a:pPr>
          <a:r>
            <a:rPr lang="fr-BE" sz="1600" kern="1200"/>
            <a:t>Head of MARS Unit | ERA</a:t>
          </a:r>
          <a:endParaRPr lang="en-GB" sz="1600" kern="1200"/>
        </a:p>
      </dsp:txBody>
      <dsp:txXfrm>
        <a:off x="0" y="2634561"/>
        <a:ext cx="11610975" cy="571725"/>
      </dsp:txXfrm>
    </dsp:sp>
    <dsp:sp modelId="{E97AD577-6A79-467E-96FE-3FF7B2C665EB}">
      <dsp:nvSpPr>
        <dsp:cNvPr id="0" name=""/>
        <dsp:cNvSpPr/>
      </dsp:nvSpPr>
      <dsp:spPr>
        <a:xfrm>
          <a:off x="580548" y="2472201"/>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en-GB" sz="2000" b="0" i="0" kern="1200"/>
            <a:t>Anna Gigantino</a:t>
          </a:r>
          <a:endParaRPr lang="en-GB" sz="2000" kern="1200"/>
        </a:p>
      </dsp:txBody>
      <dsp:txXfrm>
        <a:off x="596400" y="2488053"/>
        <a:ext cx="8095978" cy="293016"/>
      </dsp:txXfrm>
    </dsp:sp>
    <dsp:sp modelId="{FE746151-E4C6-4D03-B247-6CA33302F1E0}">
      <dsp:nvSpPr>
        <dsp:cNvPr id="0" name=""/>
        <dsp:cNvSpPr/>
      </dsp:nvSpPr>
      <dsp:spPr>
        <a:xfrm>
          <a:off x="0" y="3428046"/>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a:lnSpc>
              <a:spcPct val="90000"/>
            </a:lnSpc>
            <a:spcBef>
              <a:spcPct val="0"/>
            </a:spcBef>
            <a:spcAft>
              <a:spcPct val="15000"/>
            </a:spcAft>
            <a:buNone/>
          </a:pPr>
          <a:r>
            <a:rPr lang="fr-BE" sz="1600" kern="1200"/>
            <a:t>Chair </a:t>
          </a:r>
          <a:r>
            <a:rPr lang="en-GB" sz="1600" b="0" i="0" kern="1200"/>
            <a:t>| ERA Management Board</a:t>
          </a:r>
          <a:endParaRPr lang="en-GB" sz="1600" kern="1200"/>
        </a:p>
      </dsp:txBody>
      <dsp:txXfrm>
        <a:off x="0" y="3428046"/>
        <a:ext cx="11610975" cy="571725"/>
      </dsp:txXfrm>
    </dsp:sp>
    <dsp:sp modelId="{D0F3E990-DD01-435B-BBDE-54CFC99E4C0F}">
      <dsp:nvSpPr>
        <dsp:cNvPr id="0" name=""/>
        <dsp:cNvSpPr/>
      </dsp:nvSpPr>
      <dsp:spPr>
        <a:xfrm>
          <a:off x="580548" y="3265686"/>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fr-BE" sz="2000" kern="1200"/>
            <a:t>Clio Liégeois</a:t>
          </a:r>
          <a:endParaRPr lang="en-GB" sz="2000" kern="1200"/>
        </a:p>
      </dsp:txBody>
      <dsp:txXfrm>
        <a:off x="596400" y="3281538"/>
        <a:ext cx="8095978" cy="293016"/>
      </dsp:txXfrm>
    </dsp:sp>
    <dsp:sp modelId="{AD020C22-78DC-4B4A-B032-EE7B86C442EA}">
      <dsp:nvSpPr>
        <dsp:cNvPr id="0" name=""/>
        <dsp:cNvSpPr/>
      </dsp:nvSpPr>
      <dsp:spPr>
        <a:xfrm>
          <a:off x="0" y="4221531"/>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a:lnSpc>
              <a:spcPct val="90000"/>
            </a:lnSpc>
            <a:spcBef>
              <a:spcPct val="0"/>
            </a:spcBef>
            <a:spcAft>
              <a:spcPct val="15000"/>
            </a:spcAft>
            <a:buNone/>
          </a:pPr>
          <a:r>
            <a:rPr lang="en-US" sz="1600" b="0" i="0" kern="1200"/>
            <a:t>Spanish representative | ERA Management Board </a:t>
          </a:r>
          <a:endParaRPr lang="en-GB" sz="1600" kern="1200"/>
        </a:p>
      </dsp:txBody>
      <dsp:txXfrm>
        <a:off x="0" y="4221531"/>
        <a:ext cx="11610975" cy="571725"/>
      </dsp:txXfrm>
    </dsp:sp>
    <dsp:sp modelId="{CB2D5C2E-9111-4F64-B3B3-D2947851ABE8}">
      <dsp:nvSpPr>
        <dsp:cNvPr id="0" name=""/>
        <dsp:cNvSpPr/>
      </dsp:nvSpPr>
      <dsp:spPr>
        <a:xfrm>
          <a:off x="580548" y="4059171"/>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en-GB" sz="2000" b="0" i="0" kern="1200"/>
            <a:t>Paloma Iribas Forcat</a:t>
          </a:r>
          <a:endParaRPr lang="en-GB" sz="2000" b="0" kern="1200"/>
        </a:p>
      </dsp:txBody>
      <dsp:txXfrm>
        <a:off x="596400" y="4075023"/>
        <a:ext cx="8095978" cy="293016"/>
      </dsp:txXfrm>
    </dsp:sp>
    <dsp:sp modelId="{A4E38EA3-CC80-4705-956E-4819A18AE7DF}">
      <dsp:nvSpPr>
        <dsp:cNvPr id="0" name=""/>
        <dsp:cNvSpPr/>
      </dsp:nvSpPr>
      <dsp:spPr>
        <a:xfrm>
          <a:off x="0" y="5015016"/>
          <a:ext cx="11610975" cy="5717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1141" tIns="229108" rIns="901141" bIns="113792" numCol="1" spcCol="1270" anchor="t" anchorCtr="0">
          <a:noAutofit/>
        </a:bodyPr>
        <a:lstStyle/>
        <a:p>
          <a:pPr marL="171450" lvl="1" indent="-171450" algn="l" defTabSz="711200">
            <a:lnSpc>
              <a:spcPct val="90000"/>
            </a:lnSpc>
            <a:spcBef>
              <a:spcPct val="0"/>
            </a:spcBef>
            <a:spcAft>
              <a:spcPct val="15000"/>
            </a:spcAft>
            <a:buNone/>
          </a:pPr>
          <a:r>
            <a:rPr lang="fr-BE" sz="1600" kern="1200" err="1"/>
            <a:t>Researcher</a:t>
          </a:r>
          <a:r>
            <a:rPr lang="fr-BE" sz="1600" kern="1200"/>
            <a:t> | STAFFER Project</a:t>
          </a:r>
          <a:endParaRPr lang="en-GB" sz="1600" kern="1200"/>
        </a:p>
      </dsp:txBody>
      <dsp:txXfrm>
        <a:off x="0" y="5015016"/>
        <a:ext cx="11610975" cy="571725"/>
      </dsp:txXfrm>
    </dsp:sp>
    <dsp:sp modelId="{2567782E-09DC-425A-A630-CD6CBBBDE2C9}">
      <dsp:nvSpPr>
        <dsp:cNvPr id="0" name=""/>
        <dsp:cNvSpPr/>
      </dsp:nvSpPr>
      <dsp:spPr>
        <a:xfrm>
          <a:off x="580548" y="4852656"/>
          <a:ext cx="8127682"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207" tIns="0" rIns="307207" bIns="0" numCol="1" spcCol="1270" anchor="ctr" anchorCtr="0">
          <a:noAutofit/>
        </a:bodyPr>
        <a:lstStyle/>
        <a:p>
          <a:pPr marL="0" lvl="0" indent="0" algn="l" defTabSz="889000">
            <a:lnSpc>
              <a:spcPct val="90000"/>
            </a:lnSpc>
            <a:spcBef>
              <a:spcPct val="0"/>
            </a:spcBef>
            <a:spcAft>
              <a:spcPct val="35000"/>
            </a:spcAft>
            <a:buNone/>
          </a:pPr>
          <a:r>
            <a:rPr lang="en-GB" sz="2000" b="0" i="0" kern="1200"/>
            <a:t>Alice </a:t>
          </a:r>
          <a:r>
            <a:rPr lang="en-GB" sz="2000" b="0" i="0" kern="1200" err="1"/>
            <a:t>Consilvio</a:t>
          </a:r>
          <a:endParaRPr lang="en-GB" sz="2000" b="0" kern="1200"/>
        </a:p>
      </dsp:txBody>
      <dsp:txXfrm>
        <a:off x="596400" y="4868508"/>
        <a:ext cx="8095978" cy="2930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1F2C7-B8DD-43B4-8381-82089E614B91}">
      <dsp:nvSpPr>
        <dsp:cNvPr id="0" name=""/>
        <dsp:cNvSpPr/>
      </dsp:nvSpPr>
      <dsp:spPr>
        <a:xfrm>
          <a:off x="3715" y="163223"/>
          <a:ext cx="3622848"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In the Transport sector</a:t>
          </a:r>
          <a:endParaRPr lang="en-US" sz="1800" kern="1200"/>
        </a:p>
      </dsp:txBody>
      <dsp:txXfrm>
        <a:off x="3715" y="163223"/>
        <a:ext cx="3622848" cy="518400"/>
      </dsp:txXfrm>
    </dsp:sp>
    <dsp:sp modelId="{62B42913-7167-4131-BEFC-D3421A0F9C15}">
      <dsp:nvSpPr>
        <dsp:cNvPr id="0" name=""/>
        <dsp:cNvSpPr/>
      </dsp:nvSpPr>
      <dsp:spPr>
        <a:xfrm>
          <a:off x="3715" y="681623"/>
          <a:ext cx="3622848" cy="445184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The transport sector is a gendered workspace. The sector is dominated by masculine values and practices making it difficult for women to enter these fields.</a:t>
          </a:r>
          <a:endParaRPr lang="en-US" sz="1800" kern="1200">
            <a:latin typeface="Calibri Light" panose="020F0302020204030204"/>
          </a:endParaRPr>
        </a:p>
      </dsp:txBody>
      <dsp:txXfrm>
        <a:off x="3715" y="681623"/>
        <a:ext cx="3622848" cy="4451845"/>
      </dsp:txXfrm>
    </dsp:sp>
    <dsp:sp modelId="{77828B89-9D42-4E60-A45A-1EB55EC2F888}">
      <dsp:nvSpPr>
        <dsp:cNvPr id="0" name=""/>
        <dsp:cNvSpPr/>
      </dsp:nvSpPr>
      <dsp:spPr>
        <a:xfrm>
          <a:off x="4133762" y="163223"/>
          <a:ext cx="3622848"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In the EU Railway sector</a:t>
          </a:r>
          <a:endParaRPr lang="en-US" sz="1800" kern="1200"/>
        </a:p>
      </dsp:txBody>
      <dsp:txXfrm>
        <a:off x="4133762" y="163223"/>
        <a:ext cx="3622848" cy="518400"/>
      </dsp:txXfrm>
    </dsp:sp>
    <dsp:sp modelId="{AEBC251C-357D-4B1E-9F17-B2D835B21372}">
      <dsp:nvSpPr>
        <dsp:cNvPr id="0" name=""/>
        <dsp:cNvSpPr/>
      </dsp:nvSpPr>
      <dsp:spPr>
        <a:xfrm>
          <a:off x="4133762" y="681623"/>
          <a:ext cx="3622848" cy="445184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Women represent only a little more than </a:t>
          </a:r>
          <a:r>
            <a:rPr lang="en-US" sz="1800" b="1" kern="1200">
              <a:solidFill>
                <a:srgbClr val="595959"/>
              </a:solidFill>
              <a:latin typeface="Calibri"/>
              <a:cs typeface="Calibri"/>
            </a:rPr>
            <a:t>21%</a:t>
          </a:r>
          <a:r>
            <a:rPr lang="en-US" sz="1800" kern="1200">
              <a:solidFill>
                <a:srgbClr val="595959"/>
              </a:solidFill>
              <a:latin typeface="Calibri"/>
              <a:cs typeface="Calibri"/>
            </a:rPr>
            <a:t> of railway companies’ workforce</a:t>
          </a:r>
          <a:endParaRPr lang="en-US" sz="1800" kern="1200">
            <a:latin typeface="Calibri Light" panose="020F0302020204030204"/>
          </a:endParaRPr>
        </a:p>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Although women and girls represent </a:t>
          </a:r>
          <a:r>
            <a:rPr lang="en-US" sz="1800" b="1" kern="1200">
              <a:solidFill>
                <a:srgbClr val="595959"/>
              </a:solidFill>
              <a:latin typeface="Calibri"/>
              <a:cs typeface="Calibri"/>
            </a:rPr>
            <a:t>50%</a:t>
          </a:r>
          <a:r>
            <a:rPr lang="en-US" sz="1800" kern="1200">
              <a:solidFill>
                <a:srgbClr val="595959"/>
              </a:solidFill>
              <a:latin typeface="Calibri"/>
              <a:cs typeface="Calibri"/>
            </a:rPr>
            <a:t> of the passenger rail ridership</a:t>
          </a:r>
          <a:endParaRPr lang="en-US" sz="1800" kern="1200">
            <a:solidFill>
              <a:srgbClr val="595959"/>
            </a:solidFill>
            <a:latin typeface="Calibri Light" panose="020F0302020204030204"/>
          </a:endParaRPr>
        </a:p>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Considerably below the economy wide participation rate of women in the </a:t>
          </a:r>
          <a:r>
            <a:rPr lang="en-US" sz="1800" kern="1200" err="1">
              <a:solidFill>
                <a:srgbClr val="595959"/>
              </a:solidFill>
              <a:latin typeface="Calibri"/>
              <a:cs typeface="Calibri"/>
            </a:rPr>
            <a:t>labour</a:t>
          </a:r>
          <a:r>
            <a:rPr lang="en-US" sz="1800" kern="1200">
              <a:solidFill>
                <a:srgbClr val="595959"/>
              </a:solidFill>
              <a:latin typeface="Calibri"/>
              <a:cs typeface="Calibri"/>
            </a:rPr>
            <a:t> market (</a:t>
          </a:r>
          <a:r>
            <a:rPr lang="en-US" sz="1800" b="1" kern="1200">
              <a:solidFill>
                <a:srgbClr val="595959"/>
              </a:solidFill>
              <a:latin typeface="Calibri"/>
              <a:cs typeface="Calibri"/>
            </a:rPr>
            <a:t>46%</a:t>
          </a:r>
          <a:r>
            <a:rPr lang="en-US" sz="1800" kern="1200">
              <a:solidFill>
                <a:srgbClr val="595959"/>
              </a:solidFill>
              <a:latin typeface="Calibri"/>
              <a:cs typeface="Calibri"/>
            </a:rPr>
            <a:t>)</a:t>
          </a:r>
          <a:endParaRPr lang="en-US" sz="1800" kern="1200">
            <a:latin typeface="Calibri Light" panose="020F0302020204030204"/>
          </a:endParaRPr>
        </a:p>
      </dsp:txBody>
      <dsp:txXfrm>
        <a:off x="4133762" y="681623"/>
        <a:ext cx="3622848" cy="4451845"/>
      </dsp:txXfrm>
    </dsp:sp>
    <dsp:sp modelId="{2355138F-8233-47B6-8832-70ED49DD45D3}">
      <dsp:nvSpPr>
        <dsp:cNvPr id="0" name=""/>
        <dsp:cNvSpPr/>
      </dsp:nvSpPr>
      <dsp:spPr>
        <a:xfrm>
          <a:off x="8263809" y="163223"/>
          <a:ext cx="3622848"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rtl="0">
            <a:lnSpc>
              <a:spcPct val="90000"/>
            </a:lnSpc>
            <a:spcBef>
              <a:spcPct val="0"/>
            </a:spcBef>
            <a:spcAft>
              <a:spcPct val="35000"/>
            </a:spcAft>
            <a:buNone/>
          </a:pPr>
          <a:r>
            <a:rPr lang="en-US" sz="1800" kern="1200">
              <a:solidFill>
                <a:schemeClr val="bg1"/>
              </a:solidFill>
              <a:latin typeface="Calibri"/>
              <a:cs typeface="Calibri"/>
            </a:rPr>
            <a:t>In leadership positions in the EU</a:t>
          </a:r>
          <a:endParaRPr lang="en-US" sz="1800" kern="1200">
            <a:solidFill>
              <a:schemeClr val="bg1"/>
            </a:solidFill>
            <a:latin typeface="Calibri Light" panose="020F0302020204030204"/>
          </a:endParaRPr>
        </a:p>
      </dsp:txBody>
      <dsp:txXfrm>
        <a:off x="8263809" y="163223"/>
        <a:ext cx="3622848" cy="518400"/>
      </dsp:txXfrm>
    </dsp:sp>
    <dsp:sp modelId="{454E44FF-EC8B-4021-BB81-F7BA33AF9583}">
      <dsp:nvSpPr>
        <dsp:cNvPr id="0" name=""/>
        <dsp:cNvSpPr/>
      </dsp:nvSpPr>
      <dsp:spPr>
        <a:xfrm>
          <a:off x="8263809" y="681623"/>
          <a:ext cx="3622848" cy="445184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Aim to achieve gender balance in decision-making and politics</a:t>
          </a:r>
          <a:endParaRPr lang="en-US" sz="1800" kern="1200">
            <a:latin typeface="Calibri Light" panose="020F0302020204030204"/>
          </a:endParaRPr>
        </a:p>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Low percentage of women in leading positions </a:t>
          </a:r>
          <a:endParaRPr lang="en-US" sz="1800" kern="1200">
            <a:solidFill>
              <a:srgbClr val="595959"/>
            </a:solidFill>
            <a:latin typeface="Calibri Light" panose="020F0302020204030204"/>
          </a:endParaRPr>
        </a:p>
        <a:p>
          <a:pPr marL="342900" lvl="2" indent="-171450" algn="l" defTabSz="800100" rtl="0">
            <a:lnSpc>
              <a:spcPct val="90000"/>
            </a:lnSpc>
            <a:spcBef>
              <a:spcPct val="0"/>
            </a:spcBef>
            <a:spcAft>
              <a:spcPct val="15000"/>
            </a:spcAft>
            <a:buChar char="•"/>
          </a:pPr>
          <a:r>
            <a:rPr lang="en-US" sz="1800" kern="1200">
              <a:solidFill>
                <a:srgbClr val="595959"/>
              </a:solidFill>
              <a:latin typeface="Calibri"/>
              <a:cs typeface="Calibri"/>
            </a:rPr>
            <a:t>e.g., only </a:t>
          </a:r>
          <a:r>
            <a:rPr lang="en-US" sz="1800" b="1" kern="1200">
              <a:solidFill>
                <a:srgbClr val="595959"/>
              </a:solidFill>
              <a:latin typeface="Calibri"/>
              <a:cs typeface="Calibri"/>
            </a:rPr>
            <a:t>7.5%</a:t>
          </a:r>
          <a:r>
            <a:rPr lang="en-US" sz="1800" kern="1200">
              <a:solidFill>
                <a:srgbClr val="595959"/>
              </a:solidFill>
              <a:latin typeface="Calibri"/>
              <a:cs typeface="Calibri"/>
            </a:rPr>
            <a:t> of Board Chairs and </a:t>
          </a:r>
          <a:r>
            <a:rPr lang="en-US" sz="1800" b="1" kern="1200">
              <a:solidFill>
                <a:srgbClr val="595959"/>
              </a:solidFill>
              <a:latin typeface="Calibri"/>
              <a:cs typeface="Calibri"/>
            </a:rPr>
            <a:t>7.7%</a:t>
          </a:r>
          <a:r>
            <a:rPr lang="en-US" sz="1800" kern="1200">
              <a:solidFill>
                <a:srgbClr val="595959"/>
              </a:solidFill>
              <a:latin typeface="Calibri"/>
              <a:cs typeface="Calibri"/>
            </a:rPr>
            <a:t> of CEOs in the EU largest listed companies</a:t>
          </a:r>
          <a:endParaRPr lang="en-US" sz="1800" kern="1200">
            <a:latin typeface="Calibri Light" panose="020F0302020204030204"/>
          </a:endParaRPr>
        </a:p>
        <a:p>
          <a:pPr marL="342900" lvl="2" indent="-171450" algn="l" defTabSz="800100" rtl="0">
            <a:lnSpc>
              <a:spcPct val="90000"/>
            </a:lnSpc>
            <a:spcBef>
              <a:spcPct val="0"/>
            </a:spcBef>
            <a:spcAft>
              <a:spcPct val="15000"/>
            </a:spcAft>
            <a:buChar char="•"/>
          </a:pPr>
          <a:r>
            <a:rPr lang="en-US" sz="1800" b="1" kern="1200">
              <a:solidFill>
                <a:srgbClr val="595959"/>
              </a:solidFill>
              <a:latin typeface="Calibri"/>
              <a:cs typeface="Calibri"/>
            </a:rPr>
            <a:t>32,2%</a:t>
          </a:r>
          <a:r>
            <a:rPr lang="en-US" sz="1800" kern="1200">
              <a:solidFill>
                <a:srgbClr val="595959"/>
              </a:solidFill>
              <a:latin typeface="Calibri"/>
              <a:cs typeface="Calibri"/>
            </a:rPr>
            <a:t> of members of national parliaments in the EU are women </a:t>
          </a:r>
          <a:endParaRPr lang="en-US" sz="1800" kern="1200">
            <a:latin typeface="Calibri Light" panose="020F0302020204030204"/>
          </a:endParaRPr>
        </a:p>
        <a:p>
          <a:pPr marL="171450" lvl="1" indent="-171450" algn="l" defTabSz="800100" rtl="0">
            <a:lnSpc>
              <a:spcPct val="90000"/>
            </a:lnSpc>
            <a:spcBef>
              <a:spcPct val="0"/>
            </a:spcBef>
            <a:spcAft>
              <a:spcPct val="15000"/>
            </a:spcAft>
            <a:buChar char="•"/>
          </a:pPr>
          <a:r>
            <a:rPr lang="en-US" sz="1800" kern="1200">
              <a:solidFill>
                <a:srgbClr val="595959"/>
              </a:solidFill>
              <a:latin typeface="Calibri"/>
              <a:cs typeface="Calibri"/>
            </a:rPr>
            <a:t>This trends even persists when gender parity exists at the lower levels =&gt; top positions exclusively held by men for a long time shape the recruitment pattern for successors (unconscious bias)</a:t>
          </a:r>
          <a:endParaRPr lang="en-US" sz="1800" kern="1200">
            <a:latin typeface="Calibri Light" panose="020F0302020204030204"/>
          </a:endParaRPr>
        </a:p>
      </dsp:txBody>
      <dsp:txXfrm>
        <a:off x="8263809" y="681623"/>
        <a:ext cx="3622848" cy="44518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115214-D308-4A52-95AE-23FFD06A56E9}">
      <dsp:nvSpPr>
        <dsp:cNvPr id="0" name=""/>
        <dsp:cNvSpPr/>
      </dsp:nvSpPr>
      <dsp:spPr>
        <a:xfrm>
          <a:off x="0" y="50276"/>
          <a:ext cx="11363853" cy="143347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a:solidFill>
                <a:schemeClr val="bg1"/>
              </a:solidFill>
              <a:latin typeface="Calibri"/>
              <a:cs typeface="Calibri"/>
            </a:rPr>
            <a:t>“</a:t>
          </a:r>
          <a:r>
            <a:rPr lang="en-US" sz="2000" b="1" kern="1200">
              <a:solidFill>
                <a:schemeClr val="bg1"/>
              </a:solidFill>
              <a:latin typeface="Calibri"/>
              <a:cs typeface="Calibri"/>
            </a:rPr>
            <a:t>In all its activities, the Union shall aim to eliminate inequalities, and to promote equality, between men and women.”</a:t>
          </a:r>
        </a:p>
      </dsp:txBody>
      <dsp:txXfrm>
        <a:off x="69977" y="120253"/>
        <a:ext cx="11223899" cy="1293524"/>
      </dsp:txXfrm>
    </dsp:sp>
    <dsp:sp modelId="{76E8ECF4-1131-4C9E-B782-754C6B5EB537}">
      <dsp:nvSpPr>
        <dsp:cNvPr id="0" name=""/>
        <dsp:cNvSpPr/>
      </dsp:nvSpPr>
      <dsp:spPr>
        <a:xfrm>
          <a:off x="0" y="1483754"/>
          <a:ext cx="11363853"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802"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a:solidFill>
                <a:schemeClr val="bg1"/>
              </a:solidFill>
              <a:latin typeface="Calibri"/>
              <a:cs typeface="Calibri"/>
            </a:rPr>
            <a:t>Treaty on the Functioning of the European Union - Article 8</a:t>
          </a:r>
          <a:endParaRPr lang="en-US" sz="1600" kern="1200">
            <a:solidFill>
              <a:schemeClr val="bg1"/>
            </a:solidFill>
            <a:latin typeface="Calibri Light" panose="020F0302020204030204"/>
          </a:endParaRPr>
        </a:p>
      </dsp:txBody>
      <dsp:txXfrm>
        <a:off x="0" y="1483754"/>
        <a:ext cx="11363853" cy="331200"/>
      </dsp:txXfrm>
    </dsp:sp>
    <dsp:sp modelId="{630FE260-1E1B-4D58-A2C0-C1082A4C8061}">
      <dsp:nvSpPr>
        <dsp:cNvPr id="0" name=""/>
        <dsp:cNvSpPr/>
      </dsp:nvSpPr>
      <dsp:spPr>
        <a:xfrm>
          <a:off x="0" y="1814954"/>
          <a:ext cx="11363853" cy="143347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a:solidFill>
                <a:schemeClr val="bg1"/>
              </a:solidFill>
              <a:latin typeface="Calibri"/>
              <a:cs typeface="Calibri"/>
            </a:rPr>
            <a:t>“</a:t>
          </a:r>
          <a:r>
            <a:rPr lang="en-US" sz="2000" b="1" kern="1200">
              <a:solidFill>
                <a:schemeClr val="bg1"/>
              </a:solidFill>
              <a:latin typeface="Calibri"/>
              <a:cs typeface="Calibri"/>
            </a:rPr>
            <a:t>Equality between women and men must be ensured in all areas, including employment, work and pay. </a:t>
          </a:r>
          <a:r>
            <a:rPr lang="en-US" sz="2000" kern="1200">
              <a:solidFill>
                <a:schemeClr val="bg1"/>
              </a:solidFill>
              <a:latin typeface="Calibri"/>
              <a:cs typeface="Calibri"/>
            </a:rPr>
            <a:t>The principle of equality shall not prevent the maintenance or adoption of measures providing for specific advantages in favour of the under-represented sex.”</a:t>
          </a:r>
          <a:endParaRPr lang="en-US" sz="2000" kern="1200">
            <a:solidFill>
              <a:schemeClr val="bg1"/>
            </a:solidFill>
            <a:latin typeface="Calibri Light" panose="020F0302020204030204"/>
          </a:endParaRPr>
        </a:p>
      </dsp:txBody>
      <dsp:txXfrm>
        <a:off x="69977" y="1884931"/>
        <a:ext cx="11223899" cy="1293524"/>
      </dsp:txXfrm>
    </dsp:sp>
    <dsp:sp modelId="{7196BECD-E52A-4FB3-AC2C-F61D03EEA542}">
      <dsp:nvSpPr>
        <dsp:cNvPr id="0" name=""/>
        <dsp:cNvSpPr/>
      </dsp:nvSpPr>
      <dsp:spPr>
        <a:xfrm>
          <a:off x="0" y="3248433"/>
          <a:ext cx="11363853"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802"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a:solidFill>
                <a:schemeClr val="bg1"/>
              </a:solidFill>
              <a:latin typeface="Calibri Light" panose="020F0302020204030204"/>
            </a:rPr>
            <a:t>Charter of Fundamental Rights of the European Union – 2012/C 23326/02 - Article 23</a:t>
          </a:r>
          <a:endParaRPr lang="en-US" sz="1600" kern="1200">
            <a:solidFill>
              <a:schemeClr val="bg1"/>
            </a:solidFill>
          </a:endParaRPr>
        </a:p>
      </dsp:txBody>
      <dsp:txXfrm>
        <a:off x="0" y="3248433"/>
        <a:ext cx="11363853" cy="331200"/>
      </dsp:txXfrm>
    </dsp:sp>
    <dsp:sp modelId="{69795C90-0F4B-46F8-B9A4-54863E51725B}">
      <dsp:nvSpPr>
        <dsp:cNvPr id="0" name=""/>
        <dsp:cNvSpPr/>
      </dsp:nvSpPr>
      <dsp:spPr>
        <a:xfrm>
          <a:off x="0" y="3579633"/>
          <a:ext cx="11363853" cy="143347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i="0" kern="1200">
              <a:solidFill>
                <a:schemeClr val="bg1"/>
              </a:solidFill>
              <a:latin typeface="Calibri Body"/>
              <a:cs typeface="Calibri"/>
            </a:rPr>
            <a:t>“EU institutions and bodies should not be exempt from ensuring gender balance in leadership positions. The Commission will lead by example [...] The Commission will also increase efforts towards reaching a larger share of female managers in EU agencies, and will ensure gender balanced representation among speakers and panellists in the conferences it organises.”</a:t>
          </a:r>
          <a:endParaRPr lang="en-US" sz="2000" i="0" kern="1200">
            <a:solidFill>
              <a:schemeClr val="bg1"/>
            </a:solidFill>
            <a:latin typeface="Calibri Body"/>
          </a:endParaRPr>
        </a:p>
      </dsp:txBody>
      <dsp:txXfrm>
        <a:off x="69977" y="3649610"/>
        <a:ext cx="11223899" cy="1293524"/>
      </dsp:txXfrm>
    </dsp:sp>
    <dsp:sp modelId="{02FD8FB9-1A11-4506-B9BF-1FE21247D337}">
      <dsp:nvSpPr>
        <dsp:cNvPr id="0" name=""/>
        <dsp:cNvSpPr/>
      </dsp:nvSpPr>
      <dsp:spPr>
        <a:xfrm>
          <a:off x="0" y="5013111"/>
          <a:ext cx="11363853"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802"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a:solidFill>
                <a:schemeClr val="bg1"/>
              </a:solidFill>
              <a:latin typeface="Calibri"/>
              <a:cs typeface="Calibri"/>
            </a:rPr>
            <a:t>European Commission - 5.3.2020 - </a:t>
          </a:r>
          <a:r>
            <a:rPr lang="en-US" sz="1600" i="1" kern="1200">
              <a:solidFill>
                <a:schemeClr val="bg1"/>
              </a:solidFill>
              <a:latin typeface="Calibri"/>
              <a:cs typeface="Calibri"/>
            </a:rPr>
            <a:t>A Union of Equality: Gender Equality Strategy 2020-2025</a:t>
          </a:r>
          <a:endParaRPr lang="en-US" sz="1600" kern="1200">
            <a:solidFill>
              <a:schemeClr val="bg1"/>
            </a:solidFill>
            <a:latin typeface="Calibri Light" panose="020F0302020204030204"/>
          </a:endParaRPr>
        </a:p>
      </dsp:txBody>
      <dsp:txXfrm>
        <a:off x="0" y="5013111"/>
        <a:ext cx="11363853" cy="3312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BC1434-CA06-463F-921B-6ED571BABD94}">
      <dsp:nvSpPr>
        <dsp:cNvPr id="0" name=""/>
        <dsp:cNvSpPr/>
      </dsp:nvSpPr>
      <dsp:spPr>
        <a:xfrm rot="5400000">
          <a:off x="-263916" y="265182"/>
          <a:ext cx="1759445" cy="123161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rtl="0">
            <a:lnSpc>
              <a:spcPct val="90000"/>
            </a:lnSpc>
            <a:spcBef>
              <a:spcPct val="0"/>
            </a:spcBef>
            <a:spcAft>
              <a:spcPct val="35000"/>
            </a:spcAft>
            <a:buNone/>
          </a:pPr>
          <a:r>
            <a:rPr lang="en-US" sz="3400" kern="1200">
              <a:latin typeface="Calibri Light" panose="020F0302020204030204"/>
            </a:rPr>
            <a:t> </a:t>
          </a:r>
          <a:endParaRPr lang="en-US" sz="3400" kern="1200"/>
        </a:p>
      </dsp:txBody>
      <dsp:txXfrm rot="-5400000">
        <a:off x="1" y="617071"/>
        <a:ext cx="1231612" cy="527833"/>
      </dsp:txXfrm>
    </dsp:sp>
    <dsp:sp modelId="{2C0226F8-CDD7-4E8C-B68E-987C4EF6D8CE}">
      <dsp:nvSpPr>
        <dsp:cNvPr id="0" name=""/>
        <dsp:cNvSpPr/>
      </dsp:nvSpPr>
      <dsp:spPr>
        <a:xfrm rot="5400000">
          <a:off x="5675641" y="-4442763"/>
          <a:ext cx="1143639" cy="1003169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To reflect the society we represent</a:t>
          </a:r>
          <a:endParaRPr lang="en-US" sz="1600" kern="1200">
            <a:latin typeface="Calibri Light" panose="020F0302020204030204"/>
          </a:endParaRPr>
        </a:p>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To align the railway sector with the society in which their customers live</a:t>
          </a:r>
          <a:endParaRPr lang="en-US" sz="1600" kern="1200">
            <a:solidFill>
              <a:srgbClr val="595959"/>
            </a:solidFill>
            <a:latin typeface="Calibri Light" panose="020F0302020204030204"/>
          </a:endParaRPr>
        </a:p>
      </dsp:txBody>
      <dsp:txXfrm rot="-5400000">
        <a:off x="1231612" y="57094"/>
        <a:ext cx="9975870" cy="1031983"/>
      </dsp:txXfrm>
    </dsp:sp>
    <dsp:sp modelId="{3A327FB0-AA8C-4CC0-9717-A6E55CBD5823}">
      <dsp:nvSpPr>
        <dsp:cNvPr id="0" name=""/>
        <dsp:cNvSpPr/>
      </dsp:nvSpPr>
      <dsp:spPr>
        <a:xfrm rot="5400000">
          <a:off x="-263916" y="1832118"/>
          <a:ext cx="1759445" cy="123161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rtl="0">
            <a:lnSpc>
              <a:spcPct val="90000"/>
            </a:lnSpc>
            <a:spcBef>
              <a:spcPct val="0"/>
            </a:spcBef>
            <a:spcAft>
              <a:spcPct val="35000"/>
            </a:spcAft>
            <a:buNone/>
          </a:pPr>
          <a:r>
            <a:rPr lang="en-US" sz="3400" kern="1200">
              <a:latin typeface="Calibri Light" panose="020F0302020204030204"/>
            </a:rPr>
            <a:t> </a:t>
          </a:r>
          <a:endParaRPr lang="en-US" sz="3400" kern="1200"/>
        </a:p>
      </dsp:txBody>
      <dsp:txXfrm rot="-5400000">
        <a:off x="1" y="2184007"/>
        <a:ext cx="1231612" cy="527833"/>
      </dsp:txXfrm>
    </dsp:sp>
    <dsp:sp modelId="{F590C850-3769-4E7A-B2B1-D67170F71233}">
      <dsp:nvSpPr>
        <dsp:cNvPr id="0" name=""/>
        <dsp:cNvSpPr/>
      </dsp:nvSpPr>
      <dsp:spPr>
        <a:xfrm rot="5400000">
          <a:off x="5675641" y="-2875827"/>
          <a:ext cx="1143639" cy="1003169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r>
            <a:rPr lang="en-US" sz="1600" kern="1200" err="1">
              <a:solidFill>
                <a:srgbClr val="595959"/>
              </a:solidFill>
              <a:latin typeface="Calibri"/>
              <a:cs typeface="Calibri"/>
            </a:rPr>
            <a:t>Organisations</a:t>
          </a:r>
          <a:r>
            <a:rPr lang="en-US" sz="1600" kern="1200">
              <a:solidFill>
                <a:srgbClr val="595959"/>
              </a:solidFill>
              <a:latin typeface="Calibri"/>
              <a:cs typeface="Calibri"/>
            </a:rPr>
            <a:t> with a balanced workforce are proven to be 6 times more innovative</a:t>
          </a:r>
          <a:endParaRPr lang="en-US" sz="1600" kern="1200">
            <a:solidFill>
              <a:srgbClr val="595959"/>
            </a:solidFill>
            <a:latin typeface="Calibri Light" panose="020F0302020204030204"/>
          </a:endParaRPr>
        </a:p>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Gender diversity in particular facilitates creativity</a:t>
          </a:r>
          <a:endParaRPr lang="en-US" sz="1600" kern="1200">
            <a:latin typeface="Calibri Light" panose="020F0302020204030204"/>
          </a:endParaRPr>
        </a:p>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Diversity improves the information processing and decision-making of the team</a:t>
          </a:r>
          <a:endParaRPr lang="en-US" sz="1600" kern="1200">
            <a:solidFill>
              <a:srgbClr val="595959"/>
            </a:solidFill>
            <a:latin typeface="Calibri Light" panose="020F0302020204030204"/>
          </a:endParaRPr>
        </a:p>
      </dsp:txBody>
      <dsp:txXfrm rot="-5400000">
        <a:off x="1231612" y="1624030"/>
        <a:ext cx="9975870" cy="1031983"/>
      </dsp:txXfrm>
    </dsp:sp>
    <dsp:sp modelId="{E9AAE1AC-7273-4672-9001-4613BDED638D}">
      <dsp:nvSpPr>
        <dsp:cNvPr id="0" name=""/>
        <dsp:cNvSpPr/>
      </dsp:nvSpPr>
      <dsp:spPr>
        <a:xfrm rot="5400000">
          <a:off x="-263916" y="3399054"/>
          <a:ext cx="1759445" cy="123161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rtl="0">
            <a:lnSpc>
              <a:spcPct val="90000"/>
            </a:lnSpc>
            <a:spcBef>
              <a:spcPct val="0"/>
            </a:spcBef>
            <a:spcAft>
              <a:spcPct val="35000"/>
            </a:spcAft>
            <a:buNone/>
          </a:pPr>
          <a:r>
            <a:rPr lang="en-US" sz="3400" kern="1200">
              <a:latin typeface="Calibri Light" panose="020F0302020204030204"/>
            </a:rPr>
            <a:t> </a:t>
          </a:r>
          <a:endParaRPr lang="en-US" sz="3400" kern="1200"/>
        </a:p>
      </dsp:txBody>
      <dsp:txXfrm rot="-5400000">
        <a:off x="1" y="3750943"/>
        <a:ext cx="1231612" cy="527833"/>
      </dsp:txXfrm>
    </dsp:sp>
    <dsp:sp modelId="{FC4EC52E-5D55-4818-B09D-8DF4670C9317}">
      <dsp:nvSpPr>
        <dsp:cNvPr id="0" name=""/>
        <dsp:cNvSpPr/>
      </dsp:nvSpPr>
      <dsp:spPr>
        <a:xfrm rot="5400000">
          <a:off x="5675641" y="-1308892"/>
          <a:ext cx="1143639" cy="1003169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Companies committed to diverse leadership are more successful</a:t>
          </a:r>
          <a:endParaRPr lang="en-US" sz="1600" kern="1200">
            <a:latin typeface="Calibri Light" panose="020F0302020204030204"/>
          </a:endParaRPr>
        </a:p>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More diverse companies and institutions are achieving better performance</a:t>
          </a:r>
          <a:endParaRPr lang="en-US" sz="1600" kern="1200">
            <a:solidFill>
              <a:srgbClr val="595959"/>
            </a:solidFill>
            <a:latin typeface="Calibri Light" panose="020F0302020204030204"/>
          </a:endParaRPr>
        </a:p>
        <a:p>
          <a:pPr marL="171450" lvl="1" indent="-171450" algn="l" defTabSz="711200" rtl="0">
            <a:lnSpc>
              <a:spcPct val="90000"/>
            </a:lnSpc>
            <a:spcBef>
              <a:spcPct val="0"/>
            </a:spcBef>
            <a:spcAft>
              <a:spcPct val="15000"/>
            </a:spcAft>
            <a:buChar char="•"/>
          </a:pPr>
          <a:r>
            <a:rPr lang="en-US" sz="1600" kern="1200">
              <a:solidFill>
                <a:srgbClr val="595959"/>
              </a:solidFill>
              <a:latin typeface="Calibri"/>
              <a:cs typeface="Calibri"/>
            </a:rPr>
            <a:t>The relationship between diversity on executive teams and the likelihood of financial outperformance has strengthened over time</a:t>
          </a:r>
          <a:endParaRPr lang="en-US" sz="1600" kern="1200">
            <a:latin typeface="Calibri Light" panose="020F0302020204030204"/>
          </a:endParaRPr>
        </a:p>
      </dsp:txBody>
      <dsp:txXfrm rot="-5400000">
        <a:off x="1231612" y="3190965"/>
        <a:ext cx="9975870" cy="10319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27BBFE-4323-461F-BDAC-AE86AC51B7A9}">
      <dsp:nvSpPr>
        <dsp:cNvPr id="0" name=""/>
        <dsp:cNvSpPr/>
      </dsp:nvSpPr>
      <dsp:spPr>
        <a:xfrm>
          <a:off x="3664" y="46479"/>
          <a:ext cx="3573269" cy="73599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0" kern="1200">
              <a:solidFill>
                <a:schemeClr val="bg1"/>
              </a:solidFill>
              <a:latin typeface="Calibri Light" panose="020F0302020204030204"/>
            </a:rPr>
            <a:t>Diversity</a:t>
          </a:r>
          <a:endParaRPr lang="en-US" sz="2000" b="0" kern="1200">
            <a:solidFill>
              <a:schemeClr val="bg1"/>
            </a:solidFill>
          </a:endParaRPr>
        </a:p>
      </dsp:txBody>
      <dsp:txXfrm>
        <a:off x="3664" y="46479"/>
        <a:ext cx="3573269" cy="735995"/>
      </dsp:txXfrm>
    </dsp:sp>
    <dsp:sp modelId="{37F120EA-E423-4EB7-A95E-3F92FBBBF4D9}">
      <dsp:nvSpPr>
        <dsp:cNvPr id="0" name=""/>
        <dsp:cNvSpPr/>
      </dsp:nvSpPr>
      <dsp:spPr>
        <a:xfrm>
          <a:off x="3664" y="782475"/>
          <a:ext cx="3573269" cy="43645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Does not simply happen </a:t>
          </a:r>
          <a:endParaRPr lang="en-US" sz="2000" kern="1200">
            <a:solidFill>
              <a:schemeClr val="accent6">
                <a:lumMod val="50000"/>
              </a:schemeClr>
            </a:solidFill>
            <a:latin typeface="Calibri Light" panose="020F0302020204030204"/>
            <a:cs typeface="Calibri Light" panose="020F0302020204030204"/>
          </a:endParaRPr>
        </a:p>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It is best achieved through dedicated </a:t>
          </a:r>
          <a:r>
            <a:rPr lang="en-US" sz="2000" kern="1200" err="1">
              <a:solidFill>
                <a:schemeClr val="accent6">
                  <a:lumMod val="50000"/>
                </a:schemeClr>
              </a:solidFill>
              <a:latin typeface="Calibri"/>
              <a:cs typeface="Calibri"/>
            </a:rPr>
            <a:t>programmes</a:t>
          </a:r>
          <a:r>
            <a:rPr lang="en-US" sz="2000" kern="1200">
              <a:solidFill>
                <a:schemeClr val="accent6">
                  <a:lumMod val="50000"/>
                </a:schemeClr>
              </a:solidFill>
              <a:latin typeface="Calibri"/>
              <a:cs typeface="Calibri"/>
            </a:rPr>
            <a:t> that focus on specific goals</a:t>
          </a:r>
          <a:endParaRPr lang="en-US" sz="2000" kern="1200">
            <a:solidFill>
              <a:schemeClr val="accent6">
                <a:lumMod val="50000"/>
              </a:schemeClr>
            </a:solidFill>
            <a:latin typeface="Calibri Light" panose="020F0302020204030204"/>
          </a:endParaRPr>
        </a:p>
      </dsp:txBody>
      <dsp:txXfrm>
        <a:off x="3664" y="782475"/>
        <a:ext cx="3573269" cy="4364549"/>
      </dsp:txXfrm>
    </dsp:sp>
    <dsp:sp modelId="{A32864D8-C6D9-4A6B-A7E9-CE74AF296890}">
      <dsp:nvSpPr>
        <dsp:cNvPr id="0" name=""/>
        <dsp:cNvSpPr/>
      </dsp:nvSpPr>
      <dsp:spPr>
        <a:xfrm>
          <a:off x="4077192" y="46479"/>
          <a:ext cx="3573269" cy="73599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bg1"/>
              </a:solidFill>
              <a:latin typeface="Calibri"/>
              <a:cs typeface="Calibri"/>
            </a:rPr>
            <a:t>Inclusion</a:t>
          </a:r>
          <a:endParaRPr lang="en-US" sz="2000" kern="1200">
            <a:solidFill>
              <a:schemeClr val="bg1"/>
            </a:solidFill>
          </a:endParaRPr>
        </a:p>
      </dsp:txBody>
      <dsp:txXfrm>
        <a:off x="4077192" y="46479"/>
        <a:ext cx="3573269" cy="735995"/>
      </dsp:txXfrm>
    </dsp:sp>
    <dsp:sp modelId="{60339E00-5B45-4DE2-BC54-31405C026260}">
      <dsp:nvSpPr>
        <dsp:cNvPr id="0" name=""/>
        <dsp:cNvSpPr/>
      </dsp:nvSpPr>
      <dsp:spPr>
        <a:xfrm>
          <a:off x="4077192" y="782475"/>
          <a:ext cx="3573269" cy="43645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panose="020F0502020204030204" pitchFamily="34" charset="0"/>
              <a:cs typeface="Calibri" panose="020F0502020204030204" pitchFamily="34" charset="0"/>
            </a:rPr>
            <a:t>Is a verb</a:t>
          </a:r>
        </a:p>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The majority needs to work to organise inclusion</a:t>
          </a:r>
          <a:endParaRPr lang="en-US" sz="2000" kern="1200">
            <a:solidFill>
              <a:schemeClr val="accent6">
                <a:lumMod val="50000"/>
              </a:schemeClr>
            </a:solidFill>
            <a:latin typeface="Calibri Light" panose="020F0302020204030204"/>
          </a:endParaRPr>
        </a:p>
      </dsp:txBody>
      <dsp:txXfrm>
        <a:off x="4077192" y="782475"/>
        <a:ext cx="3573269" cy="4364549"/>
      </dsp:txXfrm>
    </dsp:sp>
    <dsp:sp modelId="{C20A59E3-A54A-45C5-B072-85968AD28D7E}">
      <dsp:nvSpPr>
        <dsp:cNvPr id="0" name=""/>
        <dsp:cNvSpPr/>
      </dsp:nvSpPr>
      <dsp:spPr>
        <a:xfrm>
          <a:off x="8150720" y="46479"/>
          <a:ext cx="3573269" cy="73599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rtl="0">
            <a:lnSpc>
              <a:spcPct val="90000"/>
            </a:lnSpc>
            <a:spcBef>
              <a:spcPct val="0"/>
            </a:spcBef>
            <a:spcAft>
              <a:spcPct val="35000"/>
            </a:spcAft>
            <a:buNone/>
          </a:pPr>
          <a:r>
            <a:rPr lang="en-US" sz="2000" kern="1200">
              <a:solidFill>
                <a:schemeClr val="bg1"/>
              </a:solidFill>
              <a:latin typeface="Calibri"/>
              <a:cs typeface="Calibri"/>
            </a:rPr>
            <a:t>To increase diversity and reach true inclusion</a:t>
          </a:r>
          <a:endParaRPr lang="en-US" sz="2000" kern="1200">
            <a:solidFill>
              <a:schemeClr val="bg1"/>
            </a:solidFill>
            <a:latin typeface="Calibri Light" panose="020F0302020204030204"/>
          </a:endParaRPr>
        </a:p>
      </dsp:txBody>
      <dsp:txXfrm>
        <a:off x="8150720" y="46479"/>
        <a:ext cx="3573269" cy="735995"/>
      </dsp:txXfrm>
    </dsp:sp>
    <dsp:sp modelId="{13434405-AE60-4DF6-B5DE-DB31DD798192}">
      <dsp:nvSpPr>
        <dsp:cNvPr id="0" name=""/>
        <dsp:cNvSpPr/>
      </dsp:nvSpPr>
      <dsp:spPr>
        <a:xfrm>
          <a:off x="8150720" y="782475"/>
          <a:ext cx="3573269" cy="43645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Actions should reflect the difference between “equality” and “equity”</a:t>
          </a:r>
          <a:r>
            <a:rPr lang="en-US" sz="2000" kern="1200">
              <a:solidFill>
                <a:srgbClr val="595959"/>
              </a:solidFill>
              <a:latin typeface="Calibri"/>
              <a:cs typeface="Calibri"/>
            </a:rPr>
            <a:t>  </a:t>
          </a:r>
          <a:endParaRPr lang="en-US" sz="2000" kern="1200">
            <a:latin typeface="Calibri Light" panose="020F0302020204030204"/>
          </a:endParaRPr>
        </a:p>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Existing, systemic differences should be acknowledged </a:t>
          </a:r>
          <a:endParaRPr lang="en-US" sz="2000" kern="1200">
            <a:solidFill>
              <a:schemeClr val="accent6">
                <a:lumMod val="50000"/>
              </a:schemeClr>
            </a:solidFill>
            <a:latin typeface="Calibri Light" panose="020F0302020204030204"/>
          </a:endParaRPr>
        </a:p>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The principle of “fairness”, implying equal treatment above all, will slow down or stop progress </a:t>
          </a:r>
          <a:endParaRPr lang="en-US" sz="2000" kern="1200">
            <a:solidFill>
              <a:schemeClr val="accent6">
                <a:lumMod val="50000"/>
              </a:schemeClr>
            </a:solidFill>
            <a:latin typeface="Calibri Light" panose="020F0302020204030204"/>
          </a:endParaRPr>
        </a:p>
        <a:p>
          <a:pPr marL="228600" lvl="1" indent="-228600" algn="l" defTabSz="889000" rtl="0">
            <a:lnSpc>
              <a:spcPct val="90000"/>
            </a:lnSpc>
            <a:spcBef>
              <a:spcPct val="0"/>
            </a:spcBef>
            <a:spcAft>
              <a:spcPct val="15000"/>
            </a:spcAft>
            <a:buChar char="•"/>
          </a:pPr>
          <a:r>
            <a:rPr lang="en-US" sz="2000" kern="1200">
              <a:solidFill>
                <a:schemeClr val="accent6">
                  <a:lumMod val="50000"/>
                </a:schemeClr>
              </a:solidFill>
              <a:latin typeface="Calibri"/>
              <a:cs typeface="Calibri"/>
            </a:rPr>
            <a:t>To change perceptions exactly on this point as the “equal, impartial treatment paradigm” exists within organisations</a:t>
          </a:r>
          <a:endParaRPr lang="en-US" sz="2000" kern="1200">
            <a:solidFill>
              <a:schemeClr val="accent6">
                <a:lumMod val="50000"/>
              </a:schemeClr>
            </a:solidFill>
            <a:latin typeface="Calibri Light" panose="020F0302020204030204"/>
          </a:endParaRPr>
        </a:p>
      </dsp:txBody>
      <dsp:txXfrm>
        <a:off x="8150720" y="782475"/>
        <a:ext cx="3573269" cy="436454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283CF9-3416-4F46-8A11-79FEABEB1215}">
      <dsp:nvSpPr>
        <dsp:cNvPr id="0" name=""/>
        <dsp:cNvSpPr/>
      </dsp:nvSpPr>
      <dsp:spPr>
        <a:xfrm>
          <a:off x="4918" y="1299220"/>
          <a:ext cx="2315177" cy="2544719"/>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AD50E3-348B-4DF6-B71F-D98F620699AC}">
      <dsp:nvSpPr>
        <dsp:cNvPr id="0" name=""/>
        <dsp:cNvSpPr/>
      </dsp:nvSpPr>
      <dsp:spPr>
        <a:xfrm>
          <a:off x="622299" y="1537746"/>
          <a:ext cx="1955038" cy="251449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rtl="0">
            <a:lnSpc>
              <a:spcPct val="90000"/>
            </a:lnSpc>
            <a:spcBef>
              <a:spcPct val="0"/>
            </a:spcBef>
            <a:spcAft>
              <a:spcPct val="35000"/>
            </a:spcAft>
            <a:buNone/>
          </a:pPr>
          <a:r>
            <a:rPr lang="fr-BE" sz="1800" kern="1200" err="1"/>
            <a:t>Lack</a:t>
          </a:r>
          <a:r>
            <a:rPr lang="fr-BE" sz="1800" kern="1200"/>
            <a:t> of </a:t>
          </a:r>
          <a:r>
            <a:rPr lang="fr-BE" sz="1800" kern="1200" err="1"/>
            <a:t>internal</a:t>
          </a:r>
          <a:r>
            <a:rPr lang="fr-BE" sz="1800" kern="1200"/>
            <a:t> </a:t>
          </a:r>
          <a:r>
            <a:rPr lang="fr-BE" sz="1800" kern="1200" err="1"/>
            <a:t>competence</a:t>
          </a:r>
          <a:r>
            <a:rPr lang="fr-BE" sz="1800" kern="1200"/>
            <a:t> – Training </a:t>
          </a:r>
          <a:r>
            <a:rPr lang="fr-BE" sz="1800" kern="1200" err="1"/>
            <a:t>with</a:t>
          </a:r>
          <a:r>
            <a:rPr lang="fr-BE" sz="1800" kern="1200"/>
            <a:t> ILO on </a:t>
          </a:r>
          <a:r>
            <a:rPr lang="fr-BE" sz="1800" kern="1200" err="1"/>
            <a:t>Participatory</a:t>
          </a:r>
          <a:r>
            <a:rPr lang="fr-BE" sz="1800" kern="1200"/>
            <a:t> </a:t>
          </a:r>
          <a:r>
            <a:rPr lang="fr-BE" sz="1800" kern="1200" err="1"/>
            <a:t>Gender</a:t>
          </a:r>
          <a:r>
            <a:rPr lang="fr-BE" sz="1800" kern="1200">
              <a:latin typeface="Calibri Light" panose="020F0302020204030204"/>
            </a:rPr>
            <a:t> Audit</a:t>
          </a:r>
          <a:r>
            <a:rPr lang="fr-BE" sz="1800" kern="1200"/>
            <a:t> in 2021</a:t>
          </a:r>
          <a:endParaRPr lang="en-GB" sz="1800" kern="1200"/>
        </a:p>
      </dsp:txBody>
      <dsp:txXfrm>
        <a:off x="679560" y="1595007"/>
        <a:ext cx="1840516" cy="2399974"/>
      </dsp:txXfrm>
    </dsp:sp>
    <dsp:sp modelId="{FAE9F185-7F1A-4861-B5AE-2CD4D49B9349}">
      <dsp:nvSpPr>
        <dsp:cNvPr id="0" name=""/>
        <dsp:cNvSpPr/>
      </dsp:nvSpPr>
      <dsp:spPr>
        <a:xfrm>
          <a:off x="2649366" y="1352672"/>
          <a:ext cx="2315177" cy="2489634"/>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A3AD7FC-9C5A-4BE5-BFE0-E1BA63DB3BDF}">
      <dsp:nvSpPr>
        <dsp:cNvPr id="0" name=""/>
        <dsp:cNvSpPr/>
      </dsp:nvSpPr>
      <dsp:spPr>
        <a:xfrm>
          <a:off x="3266747" y="1643017"/>
          <a:ext cx="1955038" cy="23557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fr-BE" sz="1800" kern="1200"/>
            <a:t>Collection of relevant documents and desk </a:t>
          </a:r>
          <a:r>
            <a:rPr lang="fr-BE" sz="1800" kern="1200" err="1"/>
            <a:t>review</a:t>
          </a:r>
          <a:r>
            <a:rPr lang="fr-BE" sz="1800" kern="1200"/>
            <a:t> in </a:t>
          </a:r>
          <a:r>
            <a:rPr lang="fr-BE" sz="1800" kern="1200" err="1"/>
            <a:t>September</a:t>
          </a:r>
          <a:r>
            <a:rPr lang="fr-BE" sz="1800" kern="1200"/>
            <a:t> 2022</a:t>
          </a:r>
          <a:endParaRPr lang="en-GB" sz="1800" kern="1200"/>
        </a:p>
      </dsp:txBody>
      <dsp:txXfrm>
        <a:off x="3324008" y="1700278"/>
        <a:ext cx="1840516" cy="2241251"/>
      </dsp:txXfrm>
    </dsp:sp>
    <dsp:sp modelId="{65388819-F065-4838-BDA4-F491C775DFF5}">
      <dsp:nvSpPr>
        <dsp:cNvPr id="0" name=""/>
        <dsp:cNvSpPr/>
      </dsp:nvSpPr>
      <dsp:spPr>
        <a:xfrm>
          <a:off x="5293813" y="1309083"/>
          <a:ext cx="2315177" cy="2549330"/>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5D03E7-E568-4DB1-9327-3C8AA4B05422}">
      <dsp:nvSpPr>
        <dsp:cNvPr id="0" name=""/>
        <dsp:cNvSpPr/>
      </dsp:nvSpPr>
      <dsp:spPr>
        <a:xfrm>
          <a:off x="5911194" y="1571949"/>
          <a:ext cx="1955038" cy="247042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rtl="0">
            <a:lnSpc>
              <a:spcPct val="90000"/>
            </a:lnSpc>
            <a:spcBef>
              <a:spcPct val="0"/>
            </a:spcBef>
            <a:spcAft>
              <a:spcPct val="35000"/>
            </a:spcAft>
            <a:buNone/>
          </a:pPr>
          <a:r>
            <a:rPr lang="fr-BE" sz="1800" kern="1200">
              <a:latin typeface="Calibri Light" panose="020F0302020204030204"/>
            </a:rPr>
            <a:t>Interviews </a:t>
          </a:r>
          <a:r>
            <a:rPr lang="fr-BE" sz="1800" kern="1200" err="1"/>
            <a:t>with</a:t>
          </a:r>
          <a:r>
            <a:rPr lang="fr-BE" sz="1800" kern="1200"/>
            <a:t> </a:t>
          </a:r>
          <a:r>
            <a:rPr lang="fr-BE" sz="1800" kern="1200" err="1"/>
            <a:t>selected</a:t>
          </a:r>
          <a:r>
            <a:rPr lang="fr-BE" sz="1800" kern="1200"/>
            <a:t> </a:t>
          </a:r>
          <a:r>
            <a:rPr lang="fr-BE" sz="1800" kern="1200" err="1"/>
            <a:t>number</a:t>
          </a:r>
          <a:r>
            <a:rPr lang="fr-BE" sz="1800" kern="1200"/>
            <a:t> of staff </a:t>
          </a:r>
          <a:r>
            <a:rPr lang="fr-BE" sz="1800" kern="1200" err="1"/>
            <a:t>based</a:t>
          </a:r>
          <a:r>
            <a:rPr lang="fr-BE" sz="1800" kern="1200"/>
            <a:t> on </a:t>
          </a:r>
          <a:r>
            <a:rPr lang="fr-BE" sz="1800" kern="1200" err="1"/>
            <a:t>gender</a:t>
          </a:r>
          <a:r>
            <a:rPr lang="fr-BE" sz="1800" kern="1200"/>
            <a:t>, </a:t>
          </a:r>
          <a:r>
            <a:rPr lang="fr-BE" sz="1800" kern="1200" err="1"/>
            <a:t>age</a:t>
          </a:r>
          <a:r>
            <a:rPr lang="fr-BE" sz="1800" kern="1200"/>
            <a:t> and </a:t>
          </a:r>
          <a:r>
            <a:rPr lang="fr-BE" sz="1800" kern="1200" err="1"/>
            <a:t>seniority</a:t>
          </a:r>
          <a:r>
            <a:rPr lang="fr-BE" sz="1800" kern="1200"/>
            <a:t> </a:t>
          </a:r>
          <a:r>
            <a:rPr lang="fr-BE" sz="1800" kern="1200" err="1"/>
            <a:t>criteria</a:t>
          </a:r>
          <a:r>
            <a:rPr lang="fr-BE" sz="1800" kern="1200"/>
            <a:t> in </a:t>
          </a:r>
          <a:r>
            <a:rPr lang="fr-BE" sz="1800" kern="1200" err="1"/>
            <a:t>September</a:t>
          </a:r>
          <a:r>
            <a:rPr lang="fr-BE" sz="1800" kern="1200"/>
            <a:t> 2022</a:t>
          </a:r>
          <a:endParaRPr lang="en-GB" sz="1800" kern="1200"/>
        </a:p>
      </dsp:txBody>
      <dsp:txXfrm>
        <a:off x="5968455" y="1629210"/>
        <a:ext cx="1840516" cy="2355907"/>
      </dsp:txXfrm>
    </dsp:sp>
    <dsp:sp modelId="{AD66A480-0247-4697-99D1-2AF91E378BE2}">
      <dsp:nvSpPr>
        <dsp:cNvPr id="0" name=""/>
        <dsp:cNvSpPr/>
      </dsp:nvSpPr>
      <dsp:spPr>
        <a:xfrm>
          <a:off x="7938261" y="1379859"/>
          <a:ext cx="2315177" cy="2439169"/>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38EB5A-61F9-4CA4-B32E-33A5F3D66257}">
      <dsp:nvSpPr>
        <dsp:cNvPr id="0" name=""/>
        <dsp:cNvSpPr/>
      </dsp:nvSpPr>
      <dsp:spPr>
        <a:xfrm>
          <a:off x="8555642" y="1674114"/>
          <a:ext cx="1955038" cy="229748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100000"/>
            </a:lnSpc>
            <a:spcBef>
              <a:spcPct val="0"/>
            </a:spcBef>
            <a:spcAft>
              <a:spcPts val="0"/>
            </a:spcAft>
            <a:buNone/>
          </a:pPr>
          <a:r>
            <a:rPr lang="fr-BE" sz="1800" kern="1200" err="1"/>
            <a:t>Two</a:t>
          </a:r>
          <a:r>
            <a:rPr lang="fr-BE" sz="1800" kern="1200"/>
            <a:t> workshops </a:t>
          </a:r>
          <a:r>
            <a:rPr lang="fr-BE" sz="1800" kern="1200" err="1"/>
            <a:t>organised</a:t>
          </a:r>
          <a:r>
            <a:rPr lang="fr-BE" sz="1800" kern="1200"/>
            <a:t> to </a:t>
          </a:r>
          <a:r>
            <a:rPr lang="fr-BE" sz="1800" kern="0" spc="0" baseline="0" err="1"/>
            <a:t>consult</a:t>
          </a:r>
          <a:r>
            <a:rPr lang="fr-BE" sz="1800" kern="0" spc="0" baseline="0"/>
            <a:t> staff in </a:t>
          </a:r>
          <a:r>
            <a:rPr lang="fr-BE" sz="1800" kern="0" spc="0" baseline="0" err="1"/>
            <a:t>September</a:t>
          </a:r>
          <a:r>
            <a:rPr lang="fr-BE" sz="1800" kern="0" spc="0" baseline="0"/>
            <a:t> 2022</a:t>
          </a:r>
          <a:endParaRPr lang="en-GB" sz="5100" kern="0" spc="0" baseline="0"/>
        </a:p>
      </dsp:txBody>
      <dsp:txXfrm>
        <a:off x="8612903" y="1731375"/>
        <a:ext cx="1840516" cy="218296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AAD833-CF11-4554-A944-C966D81CDD69}">
      <dsp:nvSpPr>
        <dsp:cNvPr id="0" name=""/>
        <dsp:cNvSpPr/>
      </dsp:nvSpPr>
      <dsp:spPr>
        <a:xfrm rot="16200000">
          <a:off x="1372790" y="-1372790"/>
          <a:ext cx="2512219" cy="5257800"/>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endParaRPr lang="en-US" sz="1800" kern="1200">
            <a:solidFill>
              <a:schemeClr val="bg1"/>
            </a:solidFill>
          </a:endParaRPr>
        </a:p>
        <a:p>
          <a:pPr marL="0" lvl="0" indent="0" algn="ctr" defTabSz="800100">
            <a:lnSpc>
              <a:spcPct val="90000"/>
            </a:lnSpc>
            <a:spcBef>
              <a:spcPct val="0"/>
            </a:spcBef>
            <a:spcAft>
              <a:spcPct val="35000"/>
            </a:spcAft>
            <a:buFont typeface="Arial" panose="020B0604020202020204" pitchFamily="34" charset="0"/>
            <a:buNone/>
          </a:pPr>
          <a:r>
            <a:rPr lang="en-US" sz="1800" kern="1200">
              <a:solidFill>
                <a:schemeClr val="bg1"/>
              </a:solidFill>
            </a:rPr>
            <a:t>The visuals created by the organisation that are disseminated externally are gender balanced and effort is made to avoid stereotypes.</a:t>
          </a:r>
        </a:p>
        <a:p>
          <a:pPr marL="0" lvl="0" indent="0" algn="ctr" defTabSz="800100">
            <a:lnSpc>
              <a:spcPct val="90000"/>
            </a:lnSpc>
            <a:spcBef>
              <a:spcPct val="0"/>
            </a:spcBef>
            <a:spcAft>
              <a:spcPct val="35000"/>
            </a:spcAft>
            <a:buFont typeface="Arial" panose="020B0604020202020204" pitchFamily="34" charset="0"/>
            <a:buNone/>
          </a:pPr>
          <a:endParaRPr lang="en-GB" sz="1800" kern="1200">
            <a:solidFill>
              <a:schemeClr val="bg1"/>
            </a:solidFill>
          </a:endParaRPr>
        </a:p>
      </dsp:txBody>
      <dsp:txXfrm rot="5400000">
        <a:off x="-1" y="1"/>
        <a:ext cx="5257800" cy="1884164"/>
      </dsp:txXfrm>
    </dsp:sp>
    <dsp:sp modelId="{7A15B3C7-5A76-47BA-A27D-9ADD59872FFF}">
      <dsp:nvSpPr>
        <dsp:cNvPr id="0" name=""/>
        <dsp:cNvSpPr/>
      </dsp:nvSpPr>
      <dsp:spPr>
        <a:xfrm>
          <a:off x="5257800" y="0"/>
          <a:ext cx="5257800" cy="2512219"/>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rPr>
            <a:t>No specific attention is given to gender balance or gender equality when selecting partners.</a:t>
          </a:r>
        </a:p>
      </dsp:txBody>
      <dsp:txXfrm>
        <a:off x="5257800" y="0"/>
        <a:ext cx="5257800" cy="1884164"/>
      </dsp:txXfrm>
    </dsp:sp>
    <dsp:sp modelId="{18429C4E-8B18-4EAB-BC31-BC710ADAA1B2}">
      <dsp:nvSpPr>
        <dsp:cNvPr id="0" name=""/>
        <dsp:cNvSpPr/>
      </dsp:nvSpPr>
      <dsp:spPr>
        <a:xfrm rot="10800000">
          <a:off x="0" y="2512219"/>
          <a:ext cx="5257800" cy="2512219"/>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GB" sz="1800" kern="1200">
              <a:solidFill>
                <a:schemeClr val="bg1"/>
              </a:solidFill>
            </a:rPr>
            <a:t>Gender balance in general within ERA is 37% F - 63% M.</a:t>
          </a:r>
        </a:p>
      </dsp:txBody>
      <dsp:txXfrm rot="10800000">
        <a:off x="0" y="3140273"/>
        <a:ext cx="5257800" cy="1884164"/>
      </dsp:txXfrm>
    </dsp:sp>
    <dsp:sp modelId="{B8515A34-4915-4F39-AE25-6D06994E56B8}">
      <dsp:nvSpPr>
        <dsp:cNvPr id="0" name=""/>
        <dsp:cNvSpPr/>
      </dsp:nvSpPr>
      <dsp:spPr>
        <a:xfrm rot="5400000">
          <a:off x="6630590" y="1139428"/>
          <a:ext cx="2512219" cy="5257800"/>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a:solidFill>
                <a:schemeClr val="bg1"/>
              </a:solidFill>
            </a:rPr>
            <a:t>Staff members indicate they feel no barrier to ask for parental leave and never experienced any issues.</a:t>
          </a:r>
        </a:p>
        <a:p>
          <a:pPr marL="0" lvl="0" indent="0" algn="ctr" defTabSz="800100">
            <a:lnSpc>
              <a:spcPct val="90000"/>
            </a:lnSpc>
            <a:spcBef>
              <a:spcPct val="0"/>
            </a:spcBef>
            <a:spcAft>
              <a:spcPct val="35000"/>
            </a:spcAft>
            <a:buFont typeface="Arial" panose="020B0604020202020204" pitchFamily="34" charset="0"/>
            <a:buNone/>
          </a:pPr>
          <a:endParaRPr lang="en-GB" sz="1800" kern="1200">
            <a:solidFill>
              <a:schemeClr val="bg1"/>
            </a:solidFill>
          </a:endParaRPr>
        </a:p>
      </dsp:txBody>
      <dsp:txXfrm rot="-5400000">
        <a:off x="5257799" y="3140273"/>
        <a:ext cx="5257800" cy="1884164"/>
      </dsp:txXfrm>
    </dsp:sp>
    <dsp:sp modelId="{70478B35-D8E6-4310-A0EE-06F7E6249B16}">
      <dsp:nvSpPr>
        <dsp:cNvPr id="0" name=""/>
        <dsp:cNvSpPr/>
      </dsp:nvSpPr>
      <dsp:spPr>
        <a:xfrm>
          <a:off x="3249057" y="1538859"/>
          <a:ext cx="4017484" cy="1946718"/>
        </a:xfrm>
        <a:prstGeom prst="roundRect">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BE" sz="1800" kern="1200" err="1"/>
            <a:t>Recommendations</a:t>
          </a:r>
          <a:r>
            <a:rPr lang="fr-BE" sz="1800" kern="1200"/>
            <a:t> to tackle gaps and </a:t>
          </a:r>
          <a:r>
            <a:rPr lang="fr-BE" sz="1800" kern="1200" err="1"/>
            <a:t>foster</a:t>
          </a:r>
          <a:r>
            <a:rPr lang="fr-BE" sz="1800" kern="1200"/>
            <a:t> good practices to </a:t>
          </a:r>
          <a:r>
            <a:rPr lang="fr-BE" sz="1800" kern="1200" err="1"/>
            <a:t>improve</a:t>
          </a:r>
          <a:r>
            <a:rPr lang="fr-BE" sz="1800" kern="1200"/>
            <a:t> </a:t>
          </a:r>
          <a:r>
            <a:rPr lang="fr-BE" sz="1800" kern="1200" err="1"/>
            <a:t>gender</a:t>
          </a:r>
          <a:r>
            <a:rPr lang="fr-BE" sz="1800" kern="1200"/>
            <a:t> </a:t>
          </a:r>
          <a:r>
            <a:rPr lang="fr-BE" sz="1800" kern="1200" err="1"/>
            <a:t>equality</a:t>
          </a:r>
          <a:r>
            <a:rPr lang="fr-BE" sz="1800" kern="1200"/>
            <a:t> </a:t>
          </a:r>
          <a:r>
            <a:rPr lang="fr-BE" sz="1800" kern="1200" err="1"/>
            <a:t>within</a:t>
          </a:r>
          <a:r>
            <a:rPr lang="fr-BE" sz="1800" kern="1200"/>
            <a:t> ERA</a:t>
          </a:r>
          <a:endParaRPr lang="en-GB" sz="1800" kern="1200"/>
        </a:p>
      </dsp:txBody>
      <dsp:txXfrm>
        <a:off x="3344088" y="1633890"/>
        <a:ext cx="3827422" cy="175665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61F8F1-12CA-4EE9-A344-CDE980739BB2}">
      <dsp:nvSpPr>
        <dsp:cNvPr id="0" name=""/>
        <dsp:cNvSpPr/>
      </dsp:nvSpPr>
      <dsp:spPr>
        <a:xfrm rot="5400000">
          <a:off x="-228477" y="229632"/>
          <a:ext cx="1523180" cy="1066226"/>
        </a:xfrm>
        <a:prstGeom prst="chevron">
          <a:avLst/>
        </a:prstGeom>
        <a:gradFill rotWithShape="0">
          <a:gsLst>
            <a:gs pos="0">
              <a:schemeClr val="accent2">
                <a:hueOff val="0"/>
                <a:satOff val="0"/>
                <a:lumOff val="0"/>
                <a:alphaOff val="0"/>
                <a:tint val="62000"/>
                <a:alpha val="60000"/>
                <a:satMod val="109000"/>
                <a:lumMod val="110000"/>
              </a:schemeClr>
            </a:gs>
            <a:gs pos="100000">
              <a:schemeClr val="accent2">
                <a:hueOff val="0"/>
                <a:satOff val="0"/>
                <a:lumOff val="0"/>
                <a:alphaOff val="0"/>
                <a:tint val="78000"/>
                <a:alpha val="92000"/>
                <a:satMod val="109000"/>
                <a:lumMod val="100000"/>
              </a:schemeClr>
            </a:gs>
          </a:gsLst>
          <a:lin ang="5400000" scaled="0"/>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de-DE" sz="2400" kern="1200"/>
            <a:t>1</a:t>
          </a:r>
        </a:p>
      </dsp:txBody>
      <dsp:txXfrm rot="-5400000">
        <a:off x="0" y="534268"/>
        <a:ext cx="1066226" cy="456954"/>
      </dsp:txXfrm>
    </dsp:sp>
    <dsp:sp modelId="{DE0F5615-BE3F-41ED-A4A0-E9EF75756AB1}">
      <dsp:nvSpPr>
        <dsp:cNvPr id="0" name=""/>
        <dsp:cNvSpPr/>
      </dsp:nvSpPr>
      <dsp:spPr>
        <a:xfrm rot="5400000">
          <a:off x="3529667" y="-2463440"/>
          <a:ext cx="990067" cy="5916948"/>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i="1" kern="1200" noProof="0"/>
            <a:t>Definitions and identification of measurable indicators</a:t>
          </a:r>
        </a:p>
      </dsp:txBody>
      <dsp:txXfrm rot="-5400000">
        <a:off x="1066227" y="48331"/>
        <a:ext cx="5868617" cy="893405"/>
      </dsp:txXfrm>
    </dsp:sp>
    <dsp:sp modelId="{012C1717-D1DB-47E9-B5B7-B1B7733D0F74}">
      <dsp:nvSpPr>
        <dsp:cNvPr id="0" name=""/>
        <dsp:cNvSpPr/>
      </dsp:nvSpPr>
      <dsp:spPr>
        <a:xfrm rot="5400000">
          <a:off x="-228477" y="1549370"/>
          <a:ext cx="1523180" cy="1066226"/>
        </a:xfrm>
        <a:prstGeom prst="chevron">
          <a:avLst/>
        </a:prstGeom>
        <a:gradFill rotWithShape="0">
          <a:gsLst>
            <a:gs pos="0">
              <a:schemeClr val="accent2">
                <a:hueOff val="0"/>
                <a:satOff val="0"/>
                <a:lumOff val="0"/>
                <a:alphaOff val="0"/>
                <a:tint val="62000"/>
                <a:alpha val="60000"/>
                <a:satMod val="109000"/>
                <a:lumMod val="110000"/>
              </a:schemeClr>
            </a:gs>
            <a:gs pos="100000">
              <a:schemeClr val="accent2">
                <a:hueOff val="0"/>
                <a:satOff val="0"/>
                <a:lumOff val="0"/>
                <a:alphaOff val="0"/>
                <a:tint val="78000"/>
                <a:alpha val="92000"/>
                <a:satMod val="109000"/>
                <a:lumMod val="100000"/>
              </a:schemeClr>
            </a:gs>
          </a:gsLst>
          <a:lin ang="5400000" scaled="0"/>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de-DE" sz="2400" kern="1200">
              <a:latin typeface="Tw Cen MT" panose="020B0602020104020603"/>
              <a:ea typeface="+mn-ea"/>
              <a:cs typeface="+mn-cs"/>
            </a:rPr>
            <a:t>2</a:t>
          </a:r>
        </a:p>
      </dsp:txBody>
      <dsp:txXfrm rot="-5400000">
        <a:off x="0" y="1854006"/>
        <a:ext cx="1066226" cy="456954"/>
      </dsp:txXfrm>
    </dsp:sp>
    <dsp:sp modelId="{DCE0E245-6772-4E52-AB61-B4E8E7BFA598}">
      <dsp:nvSpPr>
        <dsp:cNvPr id="0" name=""/>
        <dsp:cNvSpPr/>
      </dsp:nvSpPr>
      <dsp:spPr>
        <a:xfrm rot="5400000">
          <a:off x="3529667" y="-1134230"/>
          <a:ext cx="990067" cy="5916948"/>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i="1" kern="1200" noProof="0">
              <a:latin typeface="Tw Cen MT" panose="020B0602020104020603"/>
              <a:ea typeface="+mn-ea"/>
              <a:cs typeface="+mn-cs"/>
            </a:rPr>
            <a:t>Assess employability from operators/infrastructure managers point of view</a:t>
          </a:r>
        </a:p>
        <a:p>
          <a:pPr marL="228600" lvl="1" indent="-228600" algn="l" defTabSz="889000">
            <a:lnSpc>
              <a:spcPct val="90000"/>
            </a:lnSpc>
            <a:spcBef>
              <a:spcPct val="0"/>
            </a:spcBef>
            <a:spcAft>
              <a:spcPct val="15000"/>
            </a:spcAft>
            <a:buChar char="•"/>
          </a:pPr>
          <a:r>
            <a:rPr lang="en-GB" sz="2000" i="1" kern="1200" noProof="0">
              <a:latin typeface="Tw Cen MT" panose="020B0602020104020603"/>
              <a:ea typeface="+mn-ea"/>
              <a:cs typeface="+mn-cs"/>
            </a:rPr>
            <a:t>Assess employability from suppliers point of view</a:t>
          </a:r>
        </a:p>
      </dsp:txBody>
      <dsp:txXfrm rot="-5400000">
        <a:off x="1066227" y="1377541"/>
        <a:ext cx="5868617" cy="893405"/>
      </dsp:txXfrm>
    </dsp:sp>
    <dsp:sp modelId="{4CABEE09-F019-4964-AB62-3DE652B9F800}">
      <dsp:nvSpPr>
        <dsp:cNvPr id="0" name=""/>
        <dsp:cNvSpPr/>
      </dsp:nvSpPr>
      <dsp:spPr>
        <a:xfrm rot="5400000">
          <a:off x="-228477" y="2885742"/>
          <a:ext cx="1523180" cy="1066226"/>
        </a:xfrm>
        <a:prstGeom prst="chevron">
          <a:avLst/>
        </a:prstGeom>
        <a:gradFill rotWithShape="0">
          <a:gsLst>
            <a:gs pos="0">
              <a:schemeClr val="accent2">
                <a:hueOff val="0"/>
                <a:satOff val="0"/>
                <a:lumOff val="0"/>
                <a:alphaOff val="0"/>
                <a:tint val="62000"/>
                <a:alpha val="60000"/>
                <a:satMod val="109000"/>
                <a:lumMod val="110000"/>
              </a:schemeClr>
            </a:gs>
            <a:gs pos="100000">
              <a:schemeClr val="accent2">
                <a:hueOff val="0"/>
                <a:satOff val="0"/>
                <a:lumOff val="0"/>
                <a:alphaOff val="0"/>
                <a:tint val="78000"/>
                <a:alpha val="92000"/>
                <a:satMod val="109000"/>
                <a:lumMod val="100000"/>
              </a:schemeClr>
            </a:gs>
          </a:gsLst>
          <a:lin ang="5400000" scaled="0"/>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de-DE" sz="2400" kern="1200"/>
            <a:t>3</a:t>
          </a:r>
        </a:p>
      </dsp:txBody>
      <dsp:txXfrm rot="-5400000">
        <a:off x="0" y="3190378"/>
        <a:ext cx="1066226" cy="456954"/>
      </dsp:txXfrm>
    </dsp:sp>
    <dsp:sp modelId="{CA217F01-6940-4D8C-A5AF-0CD23D85F6BD}">
      <dsp:nvSpPr>
        <dsp:cNvPr id="0" name=""/>
        <dsp:cNvSpPr/>
      </dsp:nvSpPr>
      <dsp:spPr>
        <a:xfrm rot="5400000">
          <a:off x="3529667" y="193824"/>
          <a:ext cx="990067" cy="5916948"/>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noProof="0"/>
            <a:t>Development of a tool for the v</a:t>
          </a:r>
          <a:r>
            <a:rPr lang="it-IT" sz="2000" kern="1200" noProof="0" err="1"/>
            <a:t>alidation</a:t>
          </a:r>
          <a:r>
            <a:rPr lang="it-IT" sz="2000" kern="1200" noProof="0"/>
            <a:t> and </a:t>
          </a:r>
          <a:r>
            <a:rPr lang="it-IT" sz="2000" kern="1200" noProof="0" err="1"/>
            <a:t>continuous</a:t>
          </a:r>
          <a:r>
            <a:rPr lang="it-IT" sz="2000" kern="1200" noProof="0"/>
            <a:t> </a:t>
          </a:r>
          <a:r>
            <a:rPr lang="it-IT" sz="2000" kern="1200" noProof="0" err="1"/>
            <a:t>evaluation</a:t>
          </a:r>
          <a:endParaRPr lang="en-GB" sz="2000" kern="1200" noProof="0"/>
        </a:p>
        <a:p>
          <a:pPr marL="228600" lvl="1" indent="-228600" algn="l" defTabSz="889000">
            <a:lnSpc>
              <a:spcPct val="90000"/>
            </a:lnSpc>
            <a:spcBef>
              <a:spcPct val="0"/>
            </a:spcBef>
            <a:spcAft>
              <a:spcPct val="15000"/>
            </a:spcAft>
            <a:buChar char="•"/>
          </a:pPr>
          <a:r>
            <a:rPr lang="en-GB" sz="2000" kern="1200" noProof="0"/>
            <a:t>Apply the tool to validate the developed curricula</a:t>
          </a:r>
        </a:p>
      </dsp:txBody>
      <dsp:txXfrm rot="-5400000">
        <a:off x="1066227" y="2705596"/>
        <a:ext cx="5868617" cy="89340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980041-B44D-413D-9F10-BBAB9BE688C9}">
      <dsp:nvSpPr>
        <dsp:cNvPr id="0" name=""/>
        <dsp:cNvSpPr/>
      </dsp:nvSpPr>
      <dsp:spPr>
        <a:xfrm>
          <a:off x="0" y="2775346"/>
          <a:ext cx="11799092"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702BB5D6-9EBC-4F8A-87C2-1AE6B20E7948}">
      <dsp:nvSpPr>
        <dsp:cNvPr id="0" name=""/>
        <dsp:cNvSpPr/>
      </dsp:nvSpPr>
      <dsp:spPr>
        <a:xfrm rot="8100000">
          <a:off x="88994" y="639608"/>
          <a:ext cx="408192" cy="408192"/>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5ADAB1-7461-41DA-825A-703017B560EE}">
      <dsp:nvSpPr>
        <dsp:cNvPr id="0" name=""/>
        <dsp:cNvSpPr/>
      </dsp:nvSpPr>
      <dsp:spPr>
        <a:xfrm>
          <a:off x="134340" y="684955"/>
          <a:ext cx="317499" cy="317499"/>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2EA532C-2BD4-4561-8504-5CF4BC729778}">
      <dsp:nvSpPr>
        <dsp:cNvPr id="0" name=""/>
        <dsp:cNvSpPr/>
      </dsp:nvSpPr>
      <dsp:spPr>
        <a:xfrm>
          <a:off x="581726" y="1132341"/>
          <a:ext cx="4903721" cy="1643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fr-BE" sz="1500" kern="1200">
              <a:solidFill>
                <a:schemeClr val="bg1"/>
              </a:solidFill>
              <a:latin typeface="Calibri"/>
              <a:cs typeface="Calibri"/>
            </a:rPr>
            <a:t>2 June</a:t>
          </a:r>
        </a:p>
        <a:p>
          <a:pPr marL="0" lvl="0" indent="0" algn="l" defTabSz="666750">
            <a:lnSpc>
              <a:spcPct val="90000"/>
            </a:lnSpc>
            <a:spcBef>
              <a:spcPct val="0"/>
            </a:spcBef>
            <a:spcAft>
              <a:spcPct val="35000"/>
            </a:spcAft>
            <a:buNone/>
          </a:pPr>
          <a:r>
            <a:rPr lang="fr-BE" sz="1500" kern="1200">
              <a:solidFill>
                <a:schemeClr val="bg1"/>
              </a:solidFill>
              <a:latin typeface="Calibri"/>
              <a:cs typeface="Calibri"/>
            </a:rPr>
            <a:t>14.30-16.00 (CEST)</a:t>
          </a:r>
        </a:p>
      </dsp:txBody>
      <dsp:txXfrm>
        <a:off x="581726" y="1132341"/>
        <a:ext cx="4903721" cy="1643004"/>
      </dsp:txXfrm>
    </dsp:sp>
    <dsp:sp modelId="{509F055C-3361-4FF7-9EA0-22F5CED4593A}">
      <dsp:nvSpPr>
        <dsp:cNvPr id="0" name=""/>
        <dsp:cNvSpPr/>
      </dsp:nvSpPr>
      <dsp:spPr>
        <a:xfrm>
          <a:off x="581726" y="555069"/>
          <a:ext cx="4903721" cy="577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GB" sz="2000" b="1" kern="1200">
              <a:solidFill>
                <a:schemeClr val="bg1"/>
              </a:solidFill>
              <a:latin typeface="Calibri"/>
              <a:cs typeface="Calibri"/>
            </a:rPr>
            <a:t>Safety Critical Components Webinar </a:t>
          </a:r>
          <a:endParaRPr lang="en-US" sz="2000" b="1" kern="1200">
            <a:solidFill>
              <a:schemeClr val="bg1"/>
            </a:solidFill>
          </a:endParaRPr>
        </a:p>
      </dsp:txBody>
      <dsp:txXfrm>
        <a:off x="581726" y="555069"/>
        <a:ext cx="4903721" cy="577271"/>
      </dsp:txXfrm>
    </dsp:sp>
    <dsp:sp modelId="{B131210C-93C1-436E-8B52-6A014E18DEA9}">
      <dsp:nvSpPr>
        <dsp:cNvPr id="0" name=""/>
        <dsp:cNvSpPr/>
      </dsp:nvSpPr>
      <dsp:spPr>
        <a:xfrm>
          <a:off x="293090" y="1132341"/>
          <a:ext cx="0" cy="164300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F29BA4BA-B7E8-4504-9DCF-3C32A8BE5FFF}">
      <dsp:nvSpPr>
        <dsp:cNvPr id="0" name=""/>
        <dsp:cNvSpPr/>
      </dsp:nvSpPr>
      <dsp:spPr>
        <a:xfrm>
          <a:off x="239870" y="2723391"/>
          <a:ext cx="103908" cy="10390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495A5E-F38B-429C-84C6-A8D52049072E}">
      <dsp:nvSpPr>
        <dsp:cNvPr id="0" name=""/>
        <dsp:cNvSpPr/>
      </dsp:nvSpPr>
      <dsp:spPr>
        <a:xfrm rot="18900000">
          <a:off x="3030036" y="4502890"/>
          <a:ext cx="408192" cy="408192"/>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43ECB0-F122-4847-AEEB-F5E7E6E924CC}">
      <dsp:nvSpPr>
        <dsp:cNvPr id="0" name=""/>
        <dsp:cNvSpPr/>
      </dsp:nvSpPr>
      <dsp:spPr>
        <a:xfrm>
          <a:off x="3075382" y="4548237"/>
          <a:ext cx="317499" cy="317499"/>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D4BAEDF-9B43-4046-ACA0-03F3E2FE2705}">
      <dsp:nvSpPr>
        <dsp:cNvPr id="0" name=""/>
        <dsp:cNvSpPr/>
      </dsp:nvSpPr>
      <dsp:spPr>
        <a:xfrm>
          <a:off x="3522768" y="2775346"/>
          <a:ext cx="4903721" cy="1643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GB" sz="1500" kern="1200">
              <a:solidFill>
                <a:schemeClr val="bg1"/>
              </a:solidFill>
              <a:latin typeface="Calibri"/>
              <a:cs typeface="Calibri"/>
            </a:rPr>
            <a:t>3-14 July</a:t>
          </a:r>
        </a:p>
        <a:p>
          <a:pPr marL="0" lvl="0" indent="0" algn="l" defTabSz="666750">
            <a:lnSpc>
              <a:spcPct val="90000"/>
            </a:lnSpc>
            <a:spcBef>
              <a:spcPct val="0"/>
            </a:spcBef>
            <a:spcAft>
              <a:spcPct val="35000"/>
            </a:spcAft>
            <a:buNone/>
          </a:pPr>
          <a:r>
            <a:rPr lang="en-GB" sz="1500" kern="1200">
              <a:solidFill>
                <a:schemeClr val="bg1"/>
              </a:solidFill>
              <a:latin typeface="Calibri"/>
              <a:cs typeface="Calibri"/>
            </a:rPr>
            <a:t>Bruges, Brussels, Antwerp – Belgium</a:t>
          </a:r>
        </a:p>
      </dsp:txBody>
      <dsp:txXfrm>
        <a:off x="3522768" y="2775346"/>
        <a:ext cx="4903721" cy="1643004"/>
      </dsp:txXfrm>
    </dsp:sp>
    <dsp:sp modelId="{8B16D5F0-AE1B-4DA1-A2EA-B84E026E857C}">
      <dsp:nvSpPr>
        <dsp:cNvPr id="0" name=""/>
        <dsp:cNvSpPr/>
      </dsp:nvSpPr>
      <dsp:spPr>
        <a:xfrm>
          <a:off x="3522768" y="4418350"/>
          <a:ext cx="4903721" cy="577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GB" sz="2000" b="1" kern="1200">
              <a:solidFill>
                <a:schemeClr val="bg1"/>
              </a:solidFill>
              <a:latin typeface="Calibri"/>
              <a:cs typeface="Calibri"/>
            </a:rPr>
            <a:t>ETCR Seminar 2023</a:t>
          </a:r>
        </a:p>
      </dsp:txBody>
      <dsp:txXfrm>
        <a:off x="3522768" y="4418350"/>
        <a:ext cx="4903721" cy="577271"/>
      </dsp:txXfrm>
    </dsp:sp>
    <dsp:sp modelId="{B193B45C-4566-41D3-9A4A-21ADCA305D4D}">
      <dsp:nvSpPr>
        <dsp:cNvPr id="0" name=""/>
        <dsp:cNvSpPr/>
      </dsp:nvSpPr>
      <dsp:spPr>
        <a:xfrm>
          <a:off x="3234132" y="2775346"/>
          <a:ext cx="0" cy="164300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000DDD25-D4FB-428C-8D4D-0ED37D5CF793}">
      <dsp:nvSpPr>
        <dsp:cNvPr id="0" name=""/>
        <dsp:cNvSpPr/>
      </dsp:nvSpPr>
      <dsp:spPr>
        <a:xfrm>
          <a:off x="3180912" y="2723391"/>
          <a:ext cx="103908" cy="10390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E2E6FD-F4ED-4206-A9AB-894934ED8241}">
      <dsp:nvSpPr>
        <dsp:cNvPr id="0" name=""/>
        <dsp:cNvSpPr/>
      </dsp:nvSpPr>
      <dsp:spPr>
        <a:xfrm rot="8100000">
          <a:off x="5971078" y="639608"/>
          <a:ext cx="408192" cy="408192"/>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80C27D-F5FA-47DB-A434-17F29E51534B}">
      <dsp:nvSpPr>
        <dsp:cNvPr id="0" name=""/>
        <dsp:cNvSpPr/>
      </dsp:nvSpPr>
      <dsp:spPr>
        <a:xfrm>
          <a:off x="6016424" y="684955"/>
          <a:ext cx="317499" cy="317499"/>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F8AC426-983B-4A21-935E-0D4729A489DD}">
      <dsp:nvSpPr>
        <dsp:cNvPr id="0" name=""/>
        <dsp:cNvSpPr/>
      </dsp:nvSpPr>
      <dsp:spPr>
        <a:xfrm>
          <a:off x="6463810" y="1132341"/>
          <a:ext cx="4903721" cy="1643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fr-BE" sz="1500" b="0" kern="1200">
              <a:solidFill>
                <a:schemeClr val="bg1"/>
              </a:solidFill>
              <a:latin typeface="Calibri"/>
              <a:cs typeface="Calibri"/>
            </a:rPr>
            <a:t>20-22 September</a:t>
          </a:r>
        </a:p>
        <a:p>
          <a:pPr marL="0" lvl="0" indent="0" algn="l" defTabSz="666750">
            <a:lnSpc>
              <a:spcPct val="90000"/>
            </a:lnSpc>
            <a:spcBef>
              <a:spcPct val="0"/>
            </a:spcBef>
            <a:spcAft>
              <a:spcPct val="35000"/>
            </a:spcAft>
            <a:buNone/>
          </a:pPr>
          <a:r>
            <a:rPr lang="fr-BE" sz="1500" b="0" kern="1200">
              <a:solidFill>
                <a:schemeClr val="bg1"/>
              </a:solidFill>
              <a:latin typeface="Calibri"/>
              <a:cs typeface="Calibri"/>
            </a:rPr>
            <a:t>Tallinn, Estonia</a:t>
          </a:r>
        </a:p>
      </dsp:txBody>
      <dsp:txXfrm>
        <a:off x="6463810" y="1132341"/>
        <a:ext cx="4903721" cy="1643004"/>
      </dsp:txXfrm>
    </dsp:sp>
    <dsp:sp modelId="{9EB121DB-5CB9-418C-A148-369D6714908A}">
      <dsp:nvSpPr>
        <dsp:cNvPr id="0" name=""/>
        <dsp:cNvSpPr/>
      </dsp:nvSpPr>
      <dsp:spPr>
        <a:xfrm>
          <a:off x="6463810" y="555069"/>
          <a:ext cx="4903721" cy="577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BE" sz="2000" b="1" kern="1200" err="1">
              <a:solidFill>
                <a:schemeClr val="bg1"/>
              </a:solidFill>
              <a:latin typeface="Calibri"/>
              <a:cs typeface="Calibri"/>
            </a:rPr>
            <a:t>Safety</a:t>
          </a:r>
          <a:r>
            <a:rPr lang="fr-BE" sz="2000" b="1" kern="1200">
              <a:solidFill>
                <a:schemeClr val="bg1"/>
              </a:solidFill>
              <a:latin typeface="Calibri"/>
              <a:cs typeface="Calibri"/>
            </a:rPr>
            <a:t> Days 2023</a:t>
          </a:r>
        </a:p>
      </dsp:txBody>
      <dsp:txXfrm>
        <a:off x="6463810" y="555069"/>
        <a:ext cx="4903721" cy="577271"/>
      </dsp:txXfrm>
    </dsp:sp>
    <dsp:sp modelId="{6E7CFBAD-F89B-4733-9F9E-34315AB3EA63}">
      <dsp:nvSpPr>
        <dsp:cNvPr id="0" name=""/>
        <dsp:cNvSpPr/>
      </dsp:nvSpPr>
      <dsp:spPr>
        <a:xfrm>
          <a:off x="6175174" y="1132341"/>
          <a:ext cx="0" cy="164300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066C06A6-E09D-4DD5-ACEC-53655F6538DC}">
      <dsp:nvSpPr>
        <dsp:cNvPr id="0" name=""/>
        <dsp:cNvSpPr/>
      </dsp:nvSpPr>
      <dsp:spPr>
        <a:xfrm>
          <a:off x="6121954" y="2723391"/>
          <a:ext cx="103908" cy="10390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1263" cy="49447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05482" y="0"/>
            <a:ext cx="2911263" cy="494472"/>
          </a:xfrm>
          <a:prstGeom prst="rect">
            <a:avLst/>
          </a:prstGeom>
        </p:spPr>
        <p:txBody>
          <a:bodyPr vert="horz" lIns="91440" tIns="45720" rIns="91440" bIns="45720" rtlCol="0"/>
          <a:lstStyle>
            <a:lvl1pPr algn="r">
              <a:defRPr sz="1200"/>
            </a:lvl1pPr>
          </a:lstStyle>
          <a:p>
            <a:fld id="{A7F048DC-FF74-4CDB-96F9-FD6D7A1402EC}" type="datetimeFigureOut">
              <a:rPr lang="en-US" smtClean="0"/>
              <a:t>4/21/2023</a:t>
            </a:fld>
            <a:endParaRPr lang="en-US"/>
          </a:p>
        </p:txBody>
      </p:sp>
      <p:sp>
        <p:nvSpPr>
          <p:cNvPr id="4" name="Slide Image Placeholder 3"/>
          <p:cNvSpPr>
            <a:spLocks noGrp="1" noRot="1" noChangeAspect="1"/>
          </p:cNvSpPr>
          <p:nvPr>
            <p:ph type="sldImg" idx="2"/>
          </p:nvPr>
        </p:nvSpPr>
        <p:spPr>
          <a:xfrm>
            <a:off x="403225" y="1231900"/>
            <a:ext cx="5911850" cy="33258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1830" y="4742815"/>
            <a:ext cx="5374640" cy="38804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60730"/>
            <a:ext cx="2911263" cy="49447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05482" y="9360730"/>
            <a:ext cx="2911263" cy="494470"/>
          </a:xfrm>
          <a:prstGeom prst="rect">
            <a:avLst/>
          </a:prstGeom>
        </p:spPr>
        <p:txBody>
          <a:bodyPr vert="horz" lIns="91440" tIns="45720" rIns="91440" bIns="45720" rtlCol="0" anchor="b"/>
          <a:lstStyle>
            <a:lvl1pPr algn="r">
              <a:defRPr sz="1200"/>
            </a:lvl1pPr>
          </a:lstStyle>
          <a:p>
            <a:fld id="{C236BC78-3757-485B-A53A-C65B9B77CE28}" type="slidenum">
              <a:rPr lang="en-US" smtClean="0"/>
              <a:t>‹#›</a:t>
            </a:fld>
            <a:endParaRPr lang="en-US"/>
          </a:p>
        </p:txBody>
      </p:sp>
    </p:spTree>
    <p:extLst>
      <p:ext uri="{BB962C8B-B14F-4D97-AF65-F5344CB8AC3E}">
        <p14:creationId xmlns:p14="http://schemas.microsoft.com/office/powerpoint/2010/main" val="2164882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236BC78-3757-485B-A53A-C65B9B77CE28}" type="slidenum">
              <a:rPr lang="en-US" smtClean="0"/>
              <a:t>1</a:t>
            </a:fld>
            <a:endParaRPr lang="en-US"/>
          </a:p>
        </p:txBody>
      </p:sp>
    </p:spTree>
    <p:extLst>
      <p:ext uri="{BB962C8B-B14F-4D97-AF65-F5344CB8AC3E}">
        <p14:creationId xmlns:p14="http://schemas.microsoft.com/office/powerpoint/2010/main" val="1072094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236BC78-3757-485B-A53A-C65B9B77CE28}" type="slidenum">
              <a:rPr lang="en-US" smtClean="0"/>
              <a:t>4</a:t>
            </a:fld>
            <a:endParaRPr lang="en-US"/>
          </a:p>
        </p:txBody>
      </p:sp>
    </p:spTree>
    <p:extLst>
      <p:ext uri="{BB962C8B-B14F-4D97-AF65-F5344CB8AC3E}">
        <p14:creationId xmlns:p14="http://schemas.microsoft.com/office/powerpoint/2010/main" val="1988585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236BC78-3757-485B-A53A-C65B9B77CE28}" type="slidenum">
              <a:rPr lang="en-US" smtClean="0"/>
              <a:t>8</a:t>
            </a:fld>
            <a:endParaRPr lang="en-US"/>
          </a:p>
        </p:txBody>
      </p:sp>
    </p:spTree>
    <p:extLst>
      <p:ext uri="{BB962C8B-B14F-4D97-AF65-F5344CB8AC3E}">
        <p14:creationId xmlns:p14="http://schemas.microsoft.com/office/powerpoint/2010/main" val="4251989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51734E40-D193-424F-9BC8-1A25C3EF38E5}" type="slidenum">
              <a:rPr lang="en-US" smtClean="0"/>
              <a:pPr/>
              <a:t>25</a:t>
            </a:fld>
            <a:endParaRPr lang="en-US"/>
          </a:p>
        </p:txBody>
      </p:sp>
    </p:spTree>
    <p:extLst>
      <p:ext uri="{BB962C8B-B14F-4D97-AF65-F5344CB8AC3E}">
        <p14:creationId xmlns:p14="http://schemas.microsoft.com/office/powerpoint/2010/main" val="3472160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51734E40-D193-424F-9BC8-1A25C3EF38E5}" type="slidenum">
              <a:rPr lang="en-US" smtClean="0"/>
              <a:pPr/>
              <a:t>26</a:t>
            </a:fld>
            <a:endParaRPr lang="en-US"/>
          </a:p>
        </p:txBody>
      </p:sp>
    </p:spTree>
    <p:extLst>
      <p:ext uri="{BB962C8B-B14F-4D97-AF65-F5344CB8AC3E}">
        <p14:creationId xmlns:p14="http://schemas.microsoft.com/office/powerpoint/2010/main" val="1292100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The role and sequence of the tasks from WP 5 are presented here again.</a:t>
            </a:r>
          </a:p>
          <a:p>
            <a:endParaRPr lang="en-US"/>
          </a:p>
          <a:p>
            <a:r>
              <a:rPr lang="en-US"/>
              <a:t>We are in the active phases of Tasks 5.2 and 5.3, which form the starting point for Task 5.4 at the same time.</a:t>
            </a:r>
            <a:r>
              <a:rPr lang="de-DE"/>
              <a:t>  </a:t>
            </a:r>
          </a:p>
        </p:txBody>
      </p:sp>
      <p:sp>
        <p:nvSpPr>
          <p:cNvPr id="4" name="Foliennummernplatzhalter 3"/>
          <p:cNvSpPr>
            <a:spLocks noGrp="1"/>
          </p:cNvSpPr>
          <p:nvPr>
            <p:ph type="sldNum" sz="quarter" idx="5"/>
          </p:nvPr>
        </p:nvSpPr>
        <p:spPr/>
        <p:txBody>
          <a:bodyPr/>
          <a:lstStyle/>
          <a:p>
            <a:fld id="{1E5AFBF8-54AA-4C91-B395-485A90DD1BB9}" type="slidenum">
              <a:rPr lang="en-US" smtClean="0"/>
              <a:t>27</a:t>
            </a:fld>
            <a:endParaRPr lang="en-US"/>
          </a:p>
        </p:txBody>
      </p:sp>
    </p:spTree>
    <p:extLst>
      <p:ext uri="{BB962C8B-B14F-4D97-AF65-F5344CB8AC3E}">
        <p14:creationId xmlns:p14="http://schemas.microsoft.com/office/powerpoint/2010/main" val="1610515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3225" y="4557236"/>
            <a:ext cx="5911850" cy="4803494"/>
          </a:xfrm>
        </p:spPr>
        <p:txBody>
          <a:bodyPr/>
          <a:lstStyle/>
          <a:p>
            <a:pPr algn="just">
              <a:spcAft>
                <a:spcPts val="800"/>
              </a:spcAft>
            </a:pPr>
            <a:r>
              <a:rPr lang="en-GB" sz="1400">
                <a:latin typeface="Calibri" panose="020F0502020204030204" pitchFamily="34" charset="0"/>
                <a:cs typeface="Times New Roman" panose="02020603050405020304" pitchFamily="18" charset="0"/>
              </a:rPr>
              <a:t>TSI (Transition, Combined Tr), </a:t>
            </a:r>
          </a:p>
          <a:p>
            <a:pPr algn="just">
              <a:spcAft>
                <a:spcPts val="800"/>
              </a:spcAft>
            </a:pPr>
            <a:r>
              <a:rPr lang="en-GB" sz="1400">
                <a:latin typeface="Calibri" panose="020F0502020204030204" pitchFamily="34" charset="0"/>
                <a:cs typeface="Times New Roman" panose="02020603050405020304" pitchFamily="18" charset="0"/>
              </a:rPr>
              <a:t>Revision of TEN-T Regulation: </a:t>
            </a:r>
            <a:r>
              <a:rPr lang="en-US" sz="1400"/>
              <a:t>real opportunity to make Trans-European Transport Network fit for the future, to align the development of  the TEN-T network to the  European Green Deal objectives and the climate targets of the EU Climate Law. Cutting greenhouse gas emissions from the transport sector by 90%, compared with 1990 levels, by 2050, is key to achieving climate-neutrality by the same date.</a:t>
            </a:r>
            <a:endParaRPr lang="en-GB" sz="1400">
              <a:cs typeface="Times New Roman" panose="02020603050405020304" pitchFamily="18" charset="0"/>
            </a:endParaRPr>
          </a:p>
          <a:p>
            <a:pPr marL="285750" indent="-285750">
              <a:buFont typeface="Arial" panose="020B0604020202020204" pitchFamily="34" charset="0"/>
              <a:buChar char="•"/>
            </a:pPr>
            <a:r>
              <a:rPr lang="en-US" sz="1400"/>
              <a:t>New intermediary deadline of 2040 to advance the completion of major parts of the network ahead of the 2050 deadline that applies to the wider, comprehensive network. Core network will also be extended. </a:t>
            </a:r>
          </a:p>
          <a:p>
            <a:pPr marL="285750" indent="-285750">
              <a:buFont typeface="Arial" panose="020B0604020202020204" pitchFamily="34" charset="0"/>
              <a:buChar char="•"/>
            </a:pPr>
            <a:r>
              <a:rPr lang="en-US" sz="1400"/>
              <a:t>New term: 9 European Transport Corridors (ECTs) - integration of Core Network Corridors (CNCs) and Rail Freight Corridors (RFCs). </a:t>
            </a:r>
          </a:p>
          <a:p>
            <a:pPr marL="285750" indent="-285750">
              <a:buFont typeface="Arial" panose="020B0604020202020204" pitchFamily="34" charset="0"/>
              <a:buChar char="•"/>
            </a:pPr>
            <a:r>
              <a:rPr lang="en-GB" sz="1400">
                <a:solidFill>
                  <a:srgbClr val="222222"/>
                </a:solidFill>
                <a:effectLst/>
                <a:ea typeface="Times New Roman" panose="02020603050405020304" pitchFamily="18" charset="0"/>
              </a:rPr>
              <a:t>CT-related infrastructure parameters specified (CT profiles for all types of loading units) and strengthen the concept of network resilience by introducing mandatory interconnections between corridors as well as bypass options, with the aim of improving the reliability of transport services.</a:t>
            </a:r>
          </a:p>
          <a:p>
            <a:pPr marL="285750" indent="-285750">
              <a:buFont typeface="Arial" panose="020B0604020202020204" pitchFamily="34" charset="0"/>
              <a:buChar char="•"/>
            </a:pPr>
            <a:r>
              <a:rPr lang="en-GB" sz="1400"/>
              <a:t>More transhipment terminals</a:t>
            </a:r>
          </a:p>
          <a:p>
            <a:pPr marL="285750" indent="-285750">
              <a:buFont typeface="Arial" panose="020B0604020202020204" pitchFamily="34" charset="0"/>
              <a:buChar char="•"/>
            </a:pPr>
            <a:r>
              <a:rPr lang="en-US" sz="1400"/>
              <a:t>High-speed rail network between the main nodes of Europe. The major TEN-T passenger rail lines should allow trains to travel at 160 km/h or faster by 2040.</a:t>
            </a:r>
            <a:endParaRPr lang="en-GB" sz="105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23A27-AC26-4406-BCF6-64CB2C799C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356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8A636AE-7B8B-4755-BBAE-05B2A7C5C610}" type="datetime1">
              <a:rPr lang="id-ID" smtClean="0"/>
              <a:t>21/04/2023</a:t>
            </a:fld>
            <a:endParaRPr lang="id-ID"/>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469DCAB-2F4C-4855-A2DD-8F41E74CAF44}" type="slidenum">
              <a:rPr lang="id-ID" smtClean="0"/>
              <a:t>‹#›</a:t>
            </a:fld>
            <a:endParaRPr lang="id-ID"/>
          </a:p>
        </p:txBody>
      </p:sp>
      <p:sp>
        <p:nvSpPr>
          <p:cNvPr id="8" name="Picture Placeholder 7"/>
          <p:cNvSpPr>
            <a:spLocks noGrp="1"/>
          </p:cNvSpPr>
          <p:nvPr>
            <p:ph type="pic" sz="quarter" idx="13"/>
          </p:nvPr>
        </p:nvSpPr>
        <p:spPr>
          <a:xfrm>
            <a:off x="0" y="0"/>
            <a:ext cx="12192000" cy="6858000"/>
          </a:xfrm>
        </p:spPr>
        <p:txBody>
          <a:bodyPr/>
          <a:lstStyle/>
          <a:p>
            <a:endParaRPr lang="id-ID"/>
          </a:p>
        </p:txBody>
      </p:sp>
      <p:sp>
        <p:nvSpPr>
          <p:cNvPr id="11" name="Rectangle 5">
            <a:extLst>
              <a:ext uri="{FF2B5EF4-FFF2-40B4-BE49-F238E27FC236}">
                <a16:creationId xmlns:a16="http://schemas.microsoft.com/office/drawing/2014/main" id="{D3B50A03-711A-894D-BB4C-C085042B6BFD}"/>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827EF9A5-7B98-EA4B-BAEB-ACD12C16B143}"/>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3504054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8A636AE-7B8B-4755-BBAE-05B2A7C5C610}" type="datetime1">
              <a:rPr lang="id-ID" smtClean="0"/>
              <a:t>21/04/2023</a:t>
            </a:fld>
            <a:endParaRPr lang="id-ID"/>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469DCAB-2F4C-4855-A2DD-8F41E74CAF44}" type="slidenum">
              <a:rPr lang="id-ID" smtClean="0"/>
              <a:t>‹#›</a:t>
            </a:fld>
            <a:endParaRPr lang="id-ID"/>
          </a:p>
        </p:txBody>
      </p:sp>
      <p:sp>
        <p:nvSpPr>
          <p:cNvPr id="8" name="Picture Placeholder 7"/>
          <p:cNvSpPr>
            <a:spLocks noGrp="1"/>
          </p:cNvSpPr>
          <p:nvPr>
            <p:ph type="pic" sz="quarter" idx="13"/>
          </p:nvPr>
        </p:nvSpPr>
        <p:spPr>
          <a:xfrm>
            <a:off x="0" y="0"/>
            <a:ext cx="12192000" cy="6858000"/>
          </a:xfrm>
        </p:spPr>
        <p:txBody>
          <a:bodyPr/>
          <a:lstStyle/>
          <a:p>
            <a:endParaRPr lang="id-ID"/>
          </a:p>
        </p:txBody>
      </p:sp>
    </p:spTree>
    <p:extLst>
      <p:ext uri="{BB962C8B-B14F-4D97-AF65-F5344CB8AC3E}">
        <p14:creationId xmlns:p14="http://schemas.microsoft.com/office/powerpoint/2010/main" val="24667172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id-ID"/>
          </a:p>
        </p:txBody>
      </p:sp>
      <p:sp>
        <p:nvSpPr>
          <p:cNvPr id="9" name="Title 1"/>
          <p:cNvSpPr>
            <a:spLocks noGrp="1"/>
          </p:cNvSpPr>
          <p:nvPr>
            <p:ph type="title"/>
          </p:nvPr>
        </p:nvSpPr>
        <p:spPr>
          <a:xfrm>
            <a:off x="1419730" y="509287"/>
            <a:ext cx="10515600" cy="1273215"/>
          </a:xfrm>
        </p:spPr>
        <p:txBody>
          <a:bodyPr>
            <a:normAutofit/>
          </a:bodyPr>
          <a:lstStyle>
            <a:lvl1pPr>
              <a:defRPr sz="4800">
                <a:solidFill>
                  <a:schemeClr val="bg2"/>
                </a:solidFill>
              </a:defRPr>
            </a:lvl1pPr>
          </a:lstStyle>
          <a:p>
            <a:r>
              <a:rPr lang="en-US"/>
              <a:t>Click to edit Master title style</a:t>
            </a:r>
            <a:endParaRPr lang="id-ID"/>
          </a:p>
        </p:txBody>
      </p:sp>
    </p:spTree>
    <p:extLst>
      <p:ext uri="{BB962C8B-B14F-4D97-AF65-F5344CB8AC3E}">
        <p14:creationId xmlns:p14="http://schemas.microsoft.com/office/powerpoint/2010/main" val="813835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2" name="Title 1"/>
          <p:cNvSpPr>
            <a:spLocks noGrp="1"/>
          </p:cNvSpPr>
          <p:nvPr>
            <p:ph type="title"/>
          </p:nvPr>
        </p:nvSpPr>
        <p:spPr>
          <a:xfrm>
            <a:off x="1419730" y="757765"/>
            <a:ext cx="10515600" cy="1273215"/>
          </a:xfrm>
        </p:spPr>
        <p:txBody>
          <a:bodyPr>
            <a:normAutofit/>
          </a:bodyPr>
          <a:lstStyle>
            <a:lvl1pPr>
              <a:defRPr sz="4800">
                <a:solidFill>
                  <a:schemeClr val="tx1">
                    <a:lumMod val="50000"/>
                    <a:lumOff val="50000"/>
                  </a:schemeClr>
                </a:solidFill>
              </a:defRPr>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6652261" y="0"/>
            <a:ext cx="5539740" cy="6858000"/>
          </a:xfrm>
        </p:spPr>
        <p:txBody>
          <a:bodyPr/>
          <a:lstStyle/>
          <a:p>
            <a:endParaRPr lang="id-ID"/>
          </a:p>
        </p:txBody>
      </p:sp>
      <p:sp>
        <p:nvSpPr>
          <p:cNvPr id="9" name="Rectangle 5">
            <a:extLst>
              <a:ext uri="{FF2B5EF4-FFF2-40B4-BE49-F238E27FC236}">
                <a16:creationId xmlns:a16="http://schemas.microsoft.com/office/drawing/2014/main" id="{0FA93914-4A7B-6E40-861D-8E50B17A0961}"/>
              </a:ext>
            </a:extLst>
          </p:cNvPr>
          <p:cNvSpPr/>
          <p:nvPr userDrawn="1"/>
        </p:nvSpPr>
        <p:spPr>
          <a:xfrm>
            <a:off x="401747" y="0"/>
            <a:ext cx="731986" cy="1162733"/>
          </a:xfrm>
          <a:prstGeom prst="rect">
            <a:avLst/>
          </a:prstGeom>
          <a:solidFill>
            <a:srgbClr val="364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Slide Number Placeholder 4">
            <a:extLst>
              <a:ext uri="{FF2B5EF4-FFF2-40B4-BE49-F238E27FC236}">
                <a16:creationId xmlns:a16="http://schemas.microsoft.com/office/drawing/2014/main" id="{DBB4B44D-8B4C-9E43-B8F3-C3FDFAF5AC9C}"/>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chemeClr val="bg1"/>
                </a:solidFill>
              </a:rPr>
              <a:pPr/>
              <a:t>‹#›</a:t>
            </a:fld>
            <a:endParaRPr lang="id-ID">
              <a:solidFill>
                <a:schemeClr val="bg1"/>
              </a:solidFill>
            </a:endParaRPr>
          </a:p>
        </p:txBody>
      </p:sp>
    </p:spTree>
    <p:extLst>
      <p:ext uri="{BB962C8B-B14F-4D97-AF65-F5344CB8AC3E}">
        <p14:creationId xmlns:p14="http://schemas.microsoft.com/office/powerpoint/2010/main" val="1718492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animBg="1"/>
      <p:bldP spid="10"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8153400" y="0"/>
            <a:ext cx="4038601" cy="6858000"/>
          </a:xfrm>
        </p:spPr>
        <p:txBody>
          <a:bodyPr/>
          <a:lstStyle/>
          <a:p>
            <a:endParaRPr lang="id-ID"/>
          </a:p>
        </p:txBody>
      </p:sp>
      <p:sp>
        <p:nvSpPr>
          <p:cNvPr id="11" name="Rectangle 5">
            <a:extLst>
              <a:ext uri="{FF2B5EF4-FFF2-40B4-BE49-F238E27FC236}">
                <a16:creationId xmlns:a16="http://schemas.microsoft.com/office/drawing/2014/main" id="{AF4456C5-9F63-684D-B3A3-DDE39CEA4186}"/>
              </a:ext>
            </a:extLst>
          </p:cNvPr>
          <p:cNvSpPr/>
          <p:nvPr userDrawn="1"/>
        </p:nvSpPr>
        <p:spPr>
          <a:xfrm>
            <a:off x="401747" y="0"/>
            <a:ext cx="731986" cy="1162733"/>
          </a:xfrm>
          <a:prstGeom prst="rect">
            <a:avLst/>
          </a:prstGeom>
          <a:solidFill>
            <a:srgbClr val="364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236C7E82-3AD0-164E-8AE2-C933F1F6162C}"/>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chemeClr val="bg1"/>
                </a:solidFill>
              </a:rPr>
              <a:pPr/>
              <a:t>‹#›</a:t>
            </a:fld>
            <a:endParaRPr lang="id-ID">
              <a:solidFill>
                <a:schemeClr val="bg1"/>
              </a:solidFill>
            </a:endParaRPr>
          </a:p>
        </p:txBody>
      </p:sp>
    </p:spTree>
    <p:extLst>
      <p:ext uri="{BB962C8B-B14F-4D97-AF65-F5344CB8AC3E}">
        <p14:creationId xmlns:p14="http://schemas.microsoft.com/office/powerpoint/2010/main" val="2022192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7945120" y="0"/>
            <a:ext cx="4246881" cy="6858000"/>
          </a:xfrm>
        </p:spPr>
        <p:txBody>
          <a:bodyPr/>
          <a:lstStyle/>
          <a:p>
            <a:endParaRPr lang="id-ID"/>
          </a:p>
        </p:txBody>
      </p:sp>
      <p:sp>
        <p:nvSpPr>
          <p:cNvPr id="11" name="Rectangle 5">
            <a:extLst>
              <a:ext uri="{FF2B5EF4-FFF2-40B4-BE49-F238E27FC236}">
                <a16:creationId xmlns:a16="http://schemas.microsoft.com/office/drawing/2014/main" id="{0472C2EB-7065-884B-9975-384935F8F141}"/>
              </a:ext>
            </a:extLst>
          </p:cNvPr>
          <p:cNvSpPr/>
          <p:nvPr userDrawn="1"/>
        </p:nvSpPr>
        <p:spPr>
          <a:xfrm>
            <a:off x="401747" y="0"/>
            <a:ext cx="731986" cy="1162733"/>
          </a:xfrm>
          <a:prstGeom prst="rect">
            <a:avLst/>
          </a:prstGeom>
          <a:solidFill>
            <a:srgbClr val="364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D4241B84-B4FE-C043-8E74-4DDA76FD4B30}"/>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chemeClr val="bg1"/>
                </a:solidFill>
              </a:rPr>
              <a:pPr/>
              <a:t>‹#›</a:t>
            </a:fld>
            <a:endParaRPr lang="id-ID">
              <a:solidFill>
                <a:schemeClr val="bg1"/>
              </a:solidFill>
            </a:endParaRPr>
          </a:p>
        </p:txBody>
      </p:sp>
    </p:spTree>
    <p:extLst>
      <p:ext uri="{BB962C8B-B14F-4D97-AF65-F5344CB8AC3E}">
        <p14:creationId xmlns:p14="http://schemas.microsoft.com/office/powerpoint/2010/main" val="1503163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9" name="Rectangle 5">
            <a:extLst>
              <a:ext uri="{FF2B5EF4-FFF2-40B4-BE49-F238E27FC236}">
                <a16:creationId xmlns:a16="http://schemas.microsoft.com/office/drawing/2014/main" id="{5C559505-F142-3E49-BFAE-C4B3CAB844FD}"/>
              </a:ext>
            </a:extLst>
          </p:cNvPr>
          <p:cNvSpPr/>
          <p:nvPr userDrawn="1"/>
        </p:nvSpPr>
        <p:spPr>
          <a:xfrm>
            <a:off x="401747" y="0"/>
            <a:ext cx="731986" cy="1162733"/>
          </a:xfrm>
          <a:prstGeom prst="rect">
            <a:avLst/>
          </a:prstGeom>
          <a:solidFill>
            <a:srgbClr val="364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Slide Number Placeholder 4">
            <a:extLst>
              <a:ext uri="{FF2B5EF4-FFF2-40B4-BE49-F238E27FC236}">
                <a16:creationId xmlns:a16="http://schemas.microsoft.com/office/drawing/2014/main" id="{3CD9C362-B877-9E47-B363-517D1D61543A}"/>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chemeClr val="bg1"/>
                </a:solidFill>
              </a:rPr>
              <a:pPr/>
              <a:t>‹#›</a:t>
            </a:fld>
            <a:endParaRPr lang="id-ID">
              <a:solidFill>
                <a:schemeClr val="bg1"/>
              </a:solidFill>
            </a:endParaRPr>
          </a:p>
        </p:txBody>
      </p:sp>
    </p:spTree>
    <p:extLst>
      <p:ext uri="{BB962C8B-B14F-4D97-AF65-F5344CB8AC3E}">
        <p14:creationId xmlns:p14="http://schemas.microsoft.com/office/powerpoint/2010/main" val="4025699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animBg="1"/>
      <p:bldP spid="10" grpId="0"/>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2" name="Picture Placeholder 4"/>
          <p:cNvSpPr>
            <a:spLocks noGrp="1"/>
          </p:cNvSpPr>
          <p:nvPr>
            <p:ph type="pic" sz="quarter" idx="13"/>
          </p:nvPr>
        </p:nvSpPr>
        <p:spPr>
          <a:xfrm>
            <a:off x="-2" y="3501016"/>
            <a:ext cx="2520000" cy="2340000"/>
          </a:xfrm>
          <a:prstGeom prst="rect">
            <a:avLst/>
          </a:prstGeom>
          <a:noFill/>
        </p:spPr>
      </p:sp>
      <p:sp>
        <p:nvSpPr>
          <p:cNvPr id="13" name="Picture Placeholder 5"/>
          <p:cNvSpPr>
            <a:spLocks noGrp="1"/>
          </p:cNvSpPr>
          <p:nvPr>
            <p:ph type="pic" sz="quarter" idx="14"/>
          </p:nvPr>
        </p:nvSpPr>
        <p:spPr>
          <a:xfrm>
            <a:off x="2519998" y="3501016"/>
            <a:ext cx="2520000" cy="2340000"/>
          </a:xfrm>
          <a:prstGeom prst="rect">
            <a:avLst/>
          </a:prstGeom>
          <a:noFill/>
        </p:spPr>
      </p:sp>
      <p:sp>
        <p:nvSpPr>
          <p:cNvPr id="14" name="Picture Placeholder 6"/>
          <p:cNvSpPr>
            <a:spLocks noGrp="1"/>
          </p:cNvSpPr>
          <p:nvPr>
            <p:ph type="pic" sz="quarter" idx="15"/>
          </p:nvPr>
        </p:nvSpPr>
        <p:spPr>
          <a:xfrm>
            <a:off x="9672000" y="3501016"/>
            <a:ext cx="2520000" cy="2340000"/>
          </a:xfrm>
          <a:prstGeom prst="rect">
            <a:avLst/>
          </a:prstGeom>
          <a:noFill/>
        </p:spPr>
      </p:sp>
      <p:sp>
        <p:nvSpPr>
          <p:cNvPr id="15" name="Picture Placeholder 5"/>
          <p:cNvSpPr>
            <a:spLocks noGrp="1"/>
          </p:cNvSpPr>
          <p:nvPr>
            <p:ph type="pic" sz="quarter" idx="16"/>
          </p:nvPr>
        </p:nvSpPr>
        <p:spPr>
          <a:xfrm>
            <a:off x="5039998" y="1899433"/>
            <a:ext cx="4632002" cy="2799500"/>
          </a:xfrm>
          <a:prstGeom prst="rect">
            <a:avLst/>
          </a:prstGeom>
          <a:noFill/>
        </p:spPr>
        <p:txBody>
          <a:bodyPr/>
          <a:lstStyle/>
          <a:p>
            <a:endParaRPr lang="id-ID"/>
          </a:p>
        </p:txBody>
      </p:sp>
      <p:sp>
        <p:nvSpPr>
          <p:cNvPr id="17" name="Rectangle 5">
            <a:extLst>
              <a:ext uri="{FF2B5EF4-FFF2-40B4-BE49-F238E27FC236}">
                <a16:creationId xmlns:a16="http://schemas.microsoft.com/office/drawing/2014/main" id="{BCA99C90-5C4D-1647-8248-3EE558FDC1BE}"/>
              </a:ext>
            </a:extLst>
          </p:cNvPr>
          <p:cNvSpPr/>
          <p:nvPr userDrawn="1"/>
        </p:nvSpPr>
        <p:spPr>
          <a:xfrm>
            <a:off x="401747" y="0"/>
            <a:ext cx="731986" cy="1162733"/>
          </a:xfrm>
          <a:prstGeom prst="rect">
            <a:avLst/>
          </a:prstGeom>
          <a:solidFill>
            <a:srgbClr val="364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8" name="Slide Number Placeholder 4">
            <a:extLst>
              <a:ext uri="{FF2B5EF4-FFF2-40B4-BE49-F238E27FC236}">
                <a16:creationId xmlns:a16="http://schemas.microsoft.com/office/drawing/2014/main" id="{EDF07EB7-1DA9-F749-A10C-8C328173934F}"/>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chemeClr val="bg1"/>
                </a:solidFill>
              </a:rPr>
              <a:pPr/>
              <a:t>‹#›</a:t>
            </a:fld>
            <a:endParaRPr lang="id-ID">
              <a:solidFill>
                <a:schemeClr val="bg1"/>
              </a:solidFill>
            </a:endParaRPr>
          </a:p>
        </p:txBody>
      </p:sp>
    </p:spTree>
    <p:extLst>
      <p:ext uri="{BB962C8B-B14F-4D97-AF65-F5344CB8AC3E}">
        <p14:creationId xmlns:p14="http://schemas.microsoft.com/office/powerpoint/2010/main" val="2017326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7" grpId="0" animBg="1"/>
      <p:bldP spid="18"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7"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8"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9"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3" name="Rectangle 5">
            <a:extLst>
              <a:ext uri="{FF2B5EF4-FFF2-40B4-BE49-F238E27FC236}">
                <a16:creationId xmlns:a16="http://schemas.microsoft.com/office/drawing/2014/main" id="{18BF1518-E847-7341-A15D-45627DB3DADD}"/>
              </a:ext>
            </a:extLst>
          </p:cNvPr>
          <p:cNvSpPr/>
          <p:nvPr userDrawn="1"/>
        </p:nvSpPr>
        <p:spPr>
          <a:xfrm>
            <a:off x="401747" y="0"/>
            <a:ext cx="731986" cy="1162733"/>
          </a:xfrm>
          <a:prstGeom prst="rect">
            <a:avLst/>
          </a:prstGeom>
          <a:solidFill>
            <a:srgbClr val="364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75EEAB81-282F-004A-AB99-F5DF36859E66}"/>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chemeClr val="bg1"/>
                </a:solidFill>
              </a:rPr>
              <a:pPr/>
              <a:t>‹#›</a:t>
            </a:fld>
            <a:endParaRPr lang="id-ID">
              <a:solidFill>
                <a:schemeClr val="bg1"/>
              </a:solidFill>
            </a:endParaRPr>
          </a:p>
        </p:txBody>
      </p:sp>
    </p:spTree>
    <p:extLst>
      <p:ext uri="{BB962C8B-B14F-4D97-AF65-F5344CB8AC3E}">
        <p14:creationId xmlns:p14="http://schemas.microsoft.com/office/powerpoint/2010/main" val="615032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atin typeface="Calibri"/>
                <a:cs typeface="Calibri"/>
              </a:defRPr>
            </a:lvl1pPr>
          </a:lstStyle>
          <a:p>
            <a:r>
              <a:rPr lang="en-US"/>
              <a:t>Click to edit Master title style</a:t>
            </a:r>
          </a:p>
        </p:txBody>
      </p:sp>
      <p:sp>
        <p:nvSpPr>
          <p:cNvPr id="6" name="Text Placeholder 2"/>
          <p:cNvSpPr>
            <a:spLocks noGrp="1"/>
          </p:cNvSpPr>
          <p:nvPr>
            <p:ph idx="1"/>
          </p:nvPr>
        </p:nvSpPr>
        <p:spPr>
          <a:xfrm>
            <a:off x="836084" y="1157941"/>
            <a:ext cx="10658661" cy="4855883"/>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37913" y="6309320"/>
            <a:ext cx="1154087" cy="548680"/>
          </a:xfrm>
          <a:prstGeom prst="rect">
            <a:avLst/>
          </a:prstGeom>
        </p:spPr>
      </p:pic>
      <p:sp>
        <p:nvSpPr>
          <p:cNvPr id="7" name="Slide Number Placeholder 5"/>
          <p:cNvSpPr txBox="1">
            <a:spLocks/>
          </p:cNvSpPr>
          <p:nvPr userDrawn="1"/>
        </p:nvSpPr>
        <p:spPr>
          <a:xfrm>
            <a:off x="10673769" y="6602856"/>
            <a:ext cx="1350019" cy="144000"/>
          </a:xfrm>
          <a:prstGeom prst="rect">
            <a:avLst/>
          </a:prstGeom>
        </p:spPr>
        <p:txBody>
          <a:bodyPr vert="horz" lIns="0" tIns="0" rIns="0" bIns="0" rtlCol="0" anchor="b" anchorCtr="0"/>
          <a:lstStyle>
            <a:defPPr>
              <a:defRPr lang="en-US"/>
            </a:defPPr>
            <a:lvl1pPr marL="0" algn="r" defTabSz="457200" rtl="0" eaLnBrk="1" latinLnBrk="0" hangingPunct="1">
              <a:defRPr sz="900" kern="1200">
                <a:solidFill>
                  <a:schemeClr val="bg1"/>
                </a:solidFill>
                <a:latin typeface="Lucida Sans"/>
                <a:ea typeface="+mn-ea"/>
                <a:cs typeface="Lucida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2F9617-6250-4A4E-A789-B3C5DD958110}" type="slidenum">
              <a:rPr lang="en-US" sz="900" smtClean="0"/>
              <a:pPr/>
              <a:t>‹#›</a:t>
            </a:fld>
            <a:endParaRPr lang="en-US" sz="900"/>
          </a:p>
        </p:txBody>
      </p:sp>
    </p:spTree>
    <p:extLst>
      <p:ext uri="{BB962C8B-B14F-4D97-AF65-F5344CB8AC3E}">
        <p14:creationId xmlns:p14="http://schemas.microsoft.com/office/powerpoint/2010/main" val="900576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8A636AE-7B8B-4755-BBAE-05B2A7C5C610}" type="datetime1">
              <a:rPr lang="id-ID" smtClean="0"/>
              <a:t>21/04/2023</a:t>
            </a:fld>
            <a:endParaRPr lang="id-ID"/>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469DCAB-2F4C-4855-A2DD-8F41E74CAF44}" type="slidenum">
              <a:rPr lang="id-ID" smtClean="0"/>
              <a:t>‹#›</a:t>
            </a:fld>
            <a:endParaRPr lang="id-ID"/>
          </a:p>
        </p:txBody>
      </p:sp>
      <p:sp>
        <p:nvSpPr>
          <p:cNvPr id="8" name="Picture Placeholder 7"/>
          <p:cNvSpPr>
            <a:spLocks noGrp="1"/>
          </p:cNvSpPr>
          <p:nvPr>
            <p:ph type="pic" sz="quarter" idx="13"/>
          </p:nvPr>
        </p:nvSpPr>
        <p:spPr>
          <a:xfrm>
            <a:off x="0" y="0"/>
            <a:ext cx="12192000" cy="6858000"/>
          </a:xfrm>
        </p:spPr>
        <p:txBody>
          <a:bodyPr/>
          <a:lstStyle/>
          <a:p>
            <a:endParaRPr lang="id-ID"/>
          </a:p>
        </p:txBody>
      </p:sp>
      <p:sp>
        <p:nvSpPr>
          <p:cNvPr id="11" name="Rectangle 5">
            <a:extLst>
              <a:ext uri="{FF2B5EF4-FFF2-40B4-BE49-F238E27FC236}">
                <a16:creationId xmlns:a16="http://schemas.microsoft.com/office/drawing/2014/main" id="{D3B50A03-711A-894D-BB4C-C085042B6BFD}"/>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827EF9A5-7B98-EA4B-BAEB-ACD12C16B143}"/>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3530054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id-ID"/>
          </a:p>
        </p:txBody>
      </p:sp>
      <p:sp>
        <p:nvSpPr>
          <p:cNvPr id="9" name="Title 1"/>
          <p:cNvSpPr>
            <a:spLocks noGrp="1"/>
          </p:cNvSpPr>
          <p:nvPr>
            <p:ph type="title"/>
          </p:nvPr>
        </p:nvSpPr>
        <p:spPr>
          <a:xfrm>
            <a:off x="1419730" y="509287"/>
            <a:ext cx="10515600" cy="1273215"/>
          </a:xfrm>
        </p:spPr>
        <p:txBody>
          <a:bodyPr>
            <a:normAutofit/>
          </a:bodyPr>
          <a:lstStyle>
            <a:lvl1pPr>
              <a:defRPr sz="4800">
                <a:solidFill>
                  <a:schemeClr val="bg2"/>
                </a:solidFill>
              </a:defRPr>
            </a:lvl1pPr>
          </a:lstStyle>
          <a:p>
            <a:r>
              <a:rPr lang="en-US"/>
              <a:t>Click to edit Master title style</a:t>
            </a:r>
            <a:endParaRPr lang="id-ID"/>
          </a:p>
        </p:txBody>
      </p:sp>
      <p:sp>
        <p:nvSpPr>
          <p:cNvPr id="10" name="Rectangle 5">
            <a:extLst>
              <a:ext uri="{FF2B5EF4-FFF2-40B4-BE49-F238E27FC236}">
                <a16:creationId xmlns:a16="http://schemas.microsoft.com/office/drawing/2014/main" id="{9D0D9337-26A8-094A-9D59-DC2E7F1AAB53}"/>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Slide Number Placeholder 4">
            <a:extLst>
              <a:ext uri="{FF2B5EF4-FFF2-40B4-BE49-F238E27FC236}">
                <a16:creationId xmlns:a16="http://schemas.microsoft.com/office/drawing/2014/main" id="{728E26AE-61D9-4744-BB97-740754056989}"/>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3857739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id-ID"/>
          </a:p>
        </p:txBody>
      </p:sp>
      <p:sp>
        <p:nvSpPr>
          <p:cNvPr id="9" name="Title 1"/>
          <p:cNvSpPr>
            <a:spLocks noGrp="1"/>
          </p:cNvSpPr>
          <p:nvPr>
            <p:ph type="title"/>
          </p:nvPr>
        </p:nvSpPr>
        <p:spPr>
          <a:xfrm>
            <a:off x="1419730" y="509287"/>
            <a:ext cx="10515600" cy="1273215"/>
          </a:xfrm>
        </p:spPr>
        <p:txBody>
          <a:bodyPr>
            <a:normAutofit/>
          </a:bodyPr>
          <a:lstStyle>
            <a:lvl1pPr>
              <a:defRPr sz="4800">
                <a:solidFill>
                  <a:schemeClr val="bg2"/>
                </a:solidFill>
              </a:defRPr>
            </a:lvl1pPr>
          </a:lstStyle>
          <a:p>
            <a:r>
              <a:rPr lang="en-US"/>
              <a:t>Click to edit Master title style</a:t>
            </a:r>
            <a:endParaRPr lang="id-ID"/>
          </a:p>
        </p:txBody>
      </p:sp>
      <p:sp>
        <p:nvSpPr>
          <p:cNvPr id="10" name="Rectangle 5">
            <a:extLst>
              <a:ext uri="{FF2B5EF4-FFF2-40B4-BE49-F238E27FC236}">
                <a16:creationId xmlns:a16="http://schemas.microsoft.com/office/drawing/2014/main" id="{9D0D9337-26A8-094A-9D59-DC2E7F1AAB53}"/>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Slide Number Placeholder 4">
            <a:extLst>
              <a:ext uri="{FF2B5EF4-FFF2-40B4-BE49-F238E27FC236}">
                <a16:creationId xmlns:a16="http://schemas.microsoft.com/office/drawing/2014/main" id="{728E26AE-61D9-4744-BB97-740754056989}"/>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3410343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2" name="Title 1"/>
          <p:cNvSpPr>
            <a:spLocks noGrp="1"/>
          </p:cNvSpPr>
          <p:nvPr>
            <p:ph type="title"/>
          </p:nvPr>
        </p:nvSpPr>
        <p:spPr>
          <a:xfrm>
            <a:off x="1419730" y="757765"/>
            <a:ext cx="10515600" cy="1273215"/>
          </a:xfrm>
        </p:spPr>
        <p:txBody>
          <a:bodyPr>
            <a:normAutofit/>
          </a:bodyPr>
          <a:lstStyle>
            <a:lvl1pPr>
              <a:defRPr sz="4800">
                <a:solidFill>
                  <a:schemeClr val="tx1">
                    <a:lumMod val="50000"/>
                    <a:lumOff val="50000"/>
                  </a:schemeClr>
                </a:solidFill>
              </a:defRPr>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6652261" y="0"/>
            <a:ext cx="5539740" cy="6858000"/>
          </a:xfrm>
        </p:spPr>
        <p:txBody>
          <a:bodyPr/>
          <a:lstStyle/>
          <a:p>
            <a:endParaRPr lang="id-ID"/>
          </a:p>
        </p:txBody>
      </p:sp>
      <p:sp>
        <p:nvSpPr>
          <p:cNvPr id="13" name="Rectangle 5">
            <a:extLst>
              <a:ext uri="{FF2B5EF4-FFF2-40B4-BE49-F238E27FC236}">
                <a16:creationId xmlns:a16="http://schemas.microsoft.com/office/drawing/2014/main" id="{16C1DF48-359F-7546-B528-B6FD4C829300}"/>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38E2C6DE-55B9-3D49-AF5C-D641DC2D638C}"/>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34179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Welcome Message">
    <p:spTree>
      <p:nvGrpSpPr>
        <p:cNvPr id="1" name=""/>
        <p:cNvGrpSpPr/>
        <p:nvPr/>
      </p:nvGrpSpPr>
      <p:grpSpPr>
        <a:xfrm>
          <a:off x="0" y="0"/>
          <a:ext cx="0" cy="0"/>
          <a:chOff x="0" y="0"/>
          <a:chExt cx="0" cy="0"/>
        </a:xfrm>
      </p:grpSpPr>
      <p:sp>
        <p:nvSpPr>
          <p:cNvPr id="2" name="Title 1"/>
          <p:cNvSpPr>
            <a:spLocks noGrp="1"/>
          </p:cNvSpPr>
          <p:nvPr>
            <p:ph type="title"/>
          </p:nvPr>
        </p:nvSpPr>
        <p:spPr>
          <a:xfrm>
            <a:off x="1419730" y="757765"/>
            <a:ext cx="10515600" cy="1273215"/>
          </a:xfrm>
        </p:spPr>
        <p:txBody>
          <a:bodyPr>
            <a:normAutofit/>
          </a:bodyPr>
          <a:lstStyle>
            <a:lvl1pPr>
              <a:defRPr sz="4800">
                <a:solidFill>
                  <a:schemeClr val="tx1">
                    <a:lumMod val="50000"/>
                    <a:lumOff val="50000"/>
                  </a:schemeClr>
                </a:solidFill>
              </a:defRPr>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6652261" y="0"/>
            <a:ext cx="5539740" cy="6858000"/>
          </a:xfrm>
        </p:spPr>
        <p:txBody>
          <a:bodyPr/>
          <a:lstStyle/>
          <a:p>
            <a:endParaRPr lang="id-ID"/>
          </a:p>
        </p:txBody>
      </p:sp>
      <p:sp>
        <p:nvSpPr>
          <p:cNvPr id="11" name="Rectangle 5">
            <a:extLst>
              <a:ext uri="{FF2B5EF4-FFF2-40B4-BE49-F238E27FC236}">
                <a16:creationId xmlns:a16="http://schemas.microsoft.com/office/drawing/2014/main" id="{3B8BBEA8-7C0E-7F48-B32E-F2BA93C87792}"/>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203A3D35-ADDD-F240-B370-119486337D14}"/>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180239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8153400" y="0"/>
            <a:ext cx="4038601" cy="6858000"/>
          </a:xfrm>
        </p:spPr>
        <p:txBody>
          <a:bodyPr/>
          <a:lstStyle/>
          <a:p>
            <a:endParaRPr lang="id-ID"/>
          </a:p>
        </p:txBody>
      </p:sp>
      <p:sp>
        <p:nvSpPr>
          <p:cNvPr id="13" name="Rectangle 5">
            <a:extLst>
              <a:ext uri="{FF2B5EF4-FFF2-40B4-BE49-F238E27FC236}">
                <a16:creationId xmlns:a16="http://schemas.microsoft.com/office/drawing/2014/main" id="{D04C83A6-5AC3-0D42-A9B6-074B40480457}"/>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8379BEA9-2DAE-AA42-81A5-E2B33D778199}"/>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296437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7945120" y="0"/>
            <a:ext cx="4246881" cy="6858000"/>
          </a:xfrm>
        </p:spPr>
        <p:txBody>
          <a:bodyPr/>
          <a:lstStyle/>
          <a:p>
            <a:endParaRPr lang="id-ID"/>
          </a:p>
        </p:txBody>
      </p:sp>
      <p:sp>
        <p:nvSpPr>
          <p:cNvPr id="13" name="Rectangle 5">
            <a:extLst>
              <a:ext uri="{FF2B5EF4-FFF2-40B4-BE49-F238E27FC236}">
                <a16:creationId xmlns:a16="http://schemas.microsoft.com/office/drawing/2014/main" id="{A2936E54-6B0B-2C49-A98E-72BCFFDE99DF}"/>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955FE8EE-AEDC-D448-8B18-6AEBB4FAD6AE}"/>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3942877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1" name="Rectangle 5">
            <a:extLst>
              <a:ext uri="{FF2B5EF4-FFF2-40B4-BE49-F238E27FC236}">
                <a16:creationId xmlns:a16="http://schemas.microsoft.com/office/drawing/2014/main" id="{812D2C6D-98DA-E34F-ACAE-E98486FC9129}"/>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A87A6F23-E16C-AF47-85FB-6029690F7A59}"/>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1561357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2" name="Picture Placeholder 4"/>
          <p:cNvSpPr>
            <a:spLocks noGrp="1"/>
          </p:cNvSpPr>
          <p:nvPr>
            <p:ph type="pic" sz="quarter" idx="13"/>
          </p:nvPr>
        </p:nvSpPr>
        <p:spPr>
          <a:xfrm>
            <a:off x="-2" y="3501016"/>
            <a:ext cx="2520000" cy="2340000"/>
          </a:xfrm>
          <a:prstGeom prst="rect">
            <a:avLst/>
          </a:prstGeom>
          <a:noFill/>
        </p:spPr>
      </p:sp>
      <p:sp>
        <p:nvSpPr>
          <p:cNvPr id="13" name="Picture Placeholder 5"/>
          <p:cNvSpPr>
            <a:spLocks noGrp="1"/>
          </p:cNvSpPr>
          <p:nvPr>
            <p:ph type="pic" sz="quarter" idx="14"/>
          </p:nvPr>
        </p:nvSpPr>
        <p:spPr>
          <a:xfrm>
            <a:off x="2519998" y="3501016"/>
            <a:ext cx="2520000" cy="2340000"/>
          </a:xfrm>
          <a:prstGeom prst="rect">
            <a:avLst/>
          </a:prstGeom>
          <a:noFill/>
        </p:spPr>
      </p:sp>
      <p:sp>
        <p:nvSpPr>
          <p:cNvPr id="14" name="Picture Placeholder 6"/>
          <p:cNvSpPr>
            <a:spLocks noGrp="1"/>
          </p:cNvSpPr>
          <p:nvPr>
            <p:ph type="pic" sz="quarter" idx="15"/>
          </p:nvPr>
        </p:nvSpPr>
        <p:spPr>
          <a:xfrm>
            <a:off x="9672000" y="3501016"/>
            <a:ext cx="2520000" cy="2340000"/>
          </a:xfrm>
          <a:prstGeom prst="rect">
            <a:avLst/>
          </a:prstGeom>
          <a:noFill/>
        </p:spPr>
      </p:sp>
      <p:sp>
        <p:nvSpPr>
          <p:cNvPr id="15" name="Picture Placeholder 5"/>
          <p:cNvSpPr>
            <a:spLocks noGrp="1"/>
          </p:cNvSpPr>
          <p:nvPr>
            <p:ph type="pic" sz="quarter" idx="16"/>
          </p:nvPr>
        </p:nvSpPr>
        <p:spPr>
          <a:xfrm>
            <a:off x="5039998" y="1899433"/>
            <a:ext cx="4632002" cy="2799500"/>
          </a:xfrm>
          <a:prstGeom prst="rect">
            <a:avLst/>
          </a:prstGeom>
          <a:noFill/>
        </p:spPr>
        <p:txBody>
          <a:bodyPr/>
          <a:lstStyle/>
          <a:p>
            <a:endParaRPr lang="id-ID"/>
          </a:p>
        </p:txBody>
      </p:sp>
      <p:sp>
        <p:nvSpPr>
          <p:cNvPr id="19" name="Rectangle 5">
            <a:extLst>
              <a:ext uri="{FF2B5EF4-FFF2-40B4-BE49-F238E27FC236}">
                <a16:creationId xmlns:a16="http://schemas.microsoft.com/office/drawing/2014/main" id="{B4BCEA0A-800A-8043-B6B4-F28E1EF1C36E}"/>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Slide Number Placeholder 4">
            <a:extLst>
              <a:ext uri="{FF2B5EF4-FFF2-40B4-BE49-F238E27FC236}">
                <a16:creationId xmlns:a16="http://schemas.microsoft.com/office/drawing/2014/main" id="{98BEF4F9-1277-CD4A-80BC-026EEB22A59F}"/>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63921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9" grpId="0" animBg="1"/>
      <p:bldP spid="20"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7"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8"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9"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5" name="Rectangle 5">
            <a:extLst>
              <a:ext uri="{FF2B5EF4-FFF2-40B4-BE49-F238E27FC236}">
                <a16:creationId xmlns:a16="http://schemas.microsoft.com/office/drawing/2014/main" id="{762EBF39-40C8-DC45-B9F8-2DC26C5E6F43}"/>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Slide Number Placeholder 4">
            <a:extLst>
              <a:ext uri="{FF2B5EF4-FFF2-40B4-BE49-F238E27FC236}">
                <a16:creationId xmlns:a16="http://schemas.microsoft.com/office/drawing/2014/main" id="{F0CA2C18-378C-CF4D-A5AF-AAEFCA215965}"/>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650785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animBg="1"/>
      <p:bldP spid="20"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chemeClr val="accent2"/>
        </a:solidFill>
        <a:effectLst/>
      </p:bgPr>
    </p:bg>
    <p:spTree>
      <p:nvGrpSpPr>
        <p:cNvPr id="1" name=""/>
        <p:cNvGrpSpPr/>
        <p:nvPr/>
      </p:nvGrpSpPr>
      <p:grpSpPr>
        <a:xfrm>
          <a:off x="0" y="0"/>
          <a:ext cx="0" cy="0"/>
          <a:chOff x="0" y="0"/>
          <a:chExt cx="0" cy="0"/>
        </a:xfrm>
      </p:grpSpPr>
      <p:pic>
        <p:nvPicPr>
          <p:cNvPr id="9" name="Picture 8" descr="A picture containing text, domestic cat&#10;&#10;Description automatically generated">
            <a:extLst>
              <a:ext uri="{FF2B5EF4-FFF2-40B4-BE49-F238E27FC236}">
                <a16:creationId xmlns:a16="http://schemas.microsoft.com/office/drawing/2014/main" id="{C6F30F9E-6C6E-824E-BF97-6C51D5E54561}"/>
              </a:ext>
            </a:extLst>
          </p:cNvPr>
          <p:cNvPicPr>
            <a:picLocks noChangeAspect="1"/>
          </p:cNvPicPr>
          <p:nvPr userDrawn="1"/>
        </p:nvPicPr>
        <p:blipFill>
          <a:blip r:embed="rId2">
            <a:alphaModFix amt="20000"/>
          </a:blip>
          <a:stretch>
            <a:fillRect/>
          </a:stretch>
        </p:blipFill>
        <p:spPr>
          <a:xfrm>
            <a:off x="-295037" y="124334"/>
            <a:ext cx="12782074" cy="5575629"/>
          </a:xfrm>
          <a:prstGeom prst="rect">
            <a:avLst/>
          </a:prstGeom>
        </p:spPr>
      </p:pic>
      <p:sp>
        <p:nvSpPr>
          <p:cNvPr id="2" name="Title 1">
            <a:extLst>
              <a:ext uri="{FF2B5EF4-FFF2-40B4-BE49-F238E27FC236}">
                <a16:creationId xmlns:a16="http://schemas.microsoft.com/office/drawing/2014/main" id="{AC70EAC9-4D68-0848-969C-29B763B453C0}"/>
              </a:ext>
            </a:extLst>
          </p:cNvPr>
          <p:cNvSpPr>
            <a:spLocks noGrp="1"/>
          </p:cNvSpPr>
          <p:nvPr>
            <p:ph type="ctrTitle" hasCustomPrompt="1"/>
          </p:nvPr>
        </p:nvSpPr>
        <p:spPr>
          <a:xfrm>
            <a:off x="1421605" y="694574"/>
            <a:ext cx="9348789" cy="2387600"/>
          </a:xfrm>
        </p:spPr>
        <p:txBody>
          <a:bodyPr anchor="b">
            <a:normAutofit/>
          </a:bodyPr>
          <a:lstStyle>
            <a:lvl1pPr algn="ctr">
              <a:defRPr sz="4800" b="1">
                <a:solidFill>
                  <a:schemeClr val="tx1"/>
                </a:solidFill>
              </a:defRPr>
            </a:lvl1pPr>
          </a:lstStyle>
          <a:p>
            <a:r>
              <a:rPr lang="en-GB"/>
              <a:t>CLICK TO EDIT MASTER TITLE STYLE</a:t>
            </a:r>
            <a:endParaRPr lang="en-BE"/>
          </a:p>
        </p:txBody>
      </p:sp>
      <p:sp>
        <p:nvSpPr>
          <p:cNvPr id="3" name="Subtitle 2">
            <a:extLst>
              <a:ext uri="{FF2B5EF4-FFF2-40B4-BE49-F238E27FC236}">
                <a16:creationId xmlns:a16="http://schemas.microsoft.com/office/drawing/2014/main" id="{7DE843A2-8E19-3443-9530-9508B1C3E2C4}"/>
              </a:ext>
            </a:extLst>
          </p:cNvPr>
          <p:cNvSpPr>
            <a:spLocks noGrp="1"/>
          </p:cNvSpPr>
          <p:nvPr>
            <p:ph type="subTitle" idx="1"/>
          </p:nvPr>
        </p:nvSpPr>
        <p:spPr>
          <a:xfrm>
            <a:off x="1421606" y="3174249"/>
            <a:ext cx="9348788" cy="1243263"/>
          </a:xfrm>
        </p:spPr>
        <p:txBody>
          <a:bodyPr/>
          <a:lstStyle>
            <a:lvl1pPr marL="0" indent="0" algn="ctr">
              <a:buNone/>
              <a:defRPr sz="2400" b="1">
                <a:solidFill>
                  <a:schemeClr val="accent6">
                    <a:lumMod val="40000"/>
                    <a:lumOff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BE"/>
          </a:p>
        </p:txBody>
      </p:sp>
      <p:sp>
        <p:nvSpPr>
          <p:cNvPr id="6" name="Slide Number Placeholder 5">
            <a:extLst>
              <a:ext uri="{FF2B5EF4-FFF2-40B4-BE49-F238E27FC236}">
                <a16:creationId xmlns:a16="http://schemas.microsoft.com/office/drawing/2014/main" id="{34503B55-50E4-0943-A554-9D37B8BFAA84}"/>
              </a:ext>
            </a:extLst>
          </p:cNvPr>
          <p:cNvSpPr>
            <a:spLocks noGrp="1"/>
          </p:cNvSpPr>
          <p:nvPr>
            <p:ph type="sldNum" sz="quarter" idx="12"/>
          </p:nvPr>
        </p:nvSpPr>
        <p:spPr/>
        <p:txBody>
          <a:bodyPr/>
          <a:lstStyle>
            <a:lvl1pPr>
              <a:defRPr>
                <a:solidFill>
                  <a:schemeClr val="tx1"/>
                </a:solidFill>
              </a:defRPr>
            </a:lvl1pPr>
          </a:lstStyle>
          <a:p>
            <a:fld id="{C5740EB3-131C-D14C-BCB4-8A662C3227B4}" type="slidenum">
              <a:rPr lang="en-BE" smtClean="0"/>
              <a:pPr/>
              <a:t>‹#›</a:t>
            </a:fld>
            <a:endParaRPr lang="en-BE"/>
          </a:p>
        </p:txBody>
      </p:sp>
      <p:sp>
        <p:nvSpPr>
          <p:cNvPr id="10" name="Rectangle 9">
            <a:extLst>
              <a:ext uri="{FF2B5EF4-FFF2-40B4-BE49-F238E27FC236}">
                <a16:creationId xmlns:a16="http://schemas.microsoft.com/office/drawing/2014/main" id="{96B46424-AEEC-FB4A-BAEF-D606A6EA3917}"/>
              </a:ext>
            </a:extLst>
          </p:cNvPr>
          <p:cNvSpPr/>
          <p:nvPr userDrawn="1"/>
        </p:nvSpPr>
        <p:spPr>
          <a:xfrm>
            <a:off x="0" y="5614736"/>
            <a:ext cx="12192000" cy="12432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4" name="Picture 13" descr="Logo&#10;&#10;Description automatically generated">
            <a:extLst>
              <a:ext uri="{FF2B5EF4-FFF2-40B4-BE49-F238E27FC236}">
                <a16:creationId xmlns:a16="http://schemas.microsoft.com/office/drawing/2014/main" id="{34202CA4-A453-6C4B-B193-4B36D304D12E}"/>
              </a:ext>
            </a:extLst>
          </p:cNvPr>
          <p:cNvPicPr>
            <a:picLocks noChangeAspect="1"/>
          </p:cNvPicPr>
          <p:nvPr userDrawn="1"/>
        </p:nvPicPr>
        <p:blipFill>
          <a:blip r:embed="rId3"/>
          <a:stretch>
            <a:fillRect/>
          </a:stretch>
        </p:blipFill>
        <p:spPr>
          <a:xfrm>
            <a:off x="9029700" y="5838501"/>
            <a:ext cx="2743200" cy="731244"/>
          </a:xfrm>
          <a:prstGeom prst="rect">
            <a:avLst/>
          </a:prstGeom>
        </p:spPr>
      </p:pic>
    </p:spTree>
    <p:extLst>
      <p:ext uri="{BB962C8B-B14F-4D97-AF65-F5344CB8AC3E}">
        <p14:creationId xmlns:p14="http://schemas.microsoft.com/office/powerpoint/2010/main" val="26150368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Diapositiva titolo">
    <p:bg>
      <p:bgPr>
        <a:blipFill dpi="0" rotWithShape="1">
          <a:blip r:embed="rId2">
            <a:alphaModFix amt="9000"/>
            <a:lum/>
          </a:blip>
          <a:srcRect/>
          <a:stretch>
            <a:fillRect l="-14000" t="4000" r="-1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0EAC9-4D68-0848-969C-29B763B453C0}"/>
              </a:ext>
            </a:extLst>
          </p:cNvPr>
          <p:cNvSpPr>
            <a:spLocks noGrp="1"/>
          </p:cNvSpPr>
          <p:nvPr>
            <p:ph type="ctrTitle" hasCustomPrompt="1"/>
          </p:nvPr>
        </p:nvSpPr>
        <p:spPr>
          <a:xfrm>
            <a:off x="1523999" y="1122363"/>
            <a:ext cx="9305925" cy="2387600"/>
          </a:xfrm>
        </p:spPr>
        <p:txBody>
          <a:bodyPr anchor="b">
            <a:normAutofit/>
          </a:bodyPr>
          <a:lstStyle>
            <a:lvl1pPr algn="ctr">
              <a:defRPr sz="4800" b="1"/>
            </a:lvl1pPr>
          </a:lstStyle>
          <a:p>
            <a:r>
              <a:rPr lang="en-GB"/>
              <a:t>CLICK TO EDIT MASTER TITLE STYLE</a:t>
            </a:r>
            <a:endParaRPr lang="en-BE"/>
          </a:p>
        </p:txBody>
      </p:sp>
      <p:sp>
        <p:nvSpPr>
          <p:cNvPr id="3" name="Subtitle 2">
            <a:extLst>
              <a:ext uri="{FF2B5EF4-FFF2-40B4-BE49-F238E27FC236}">
                <a16:creationId xmlns:a16="http://schemas.microsoft.com/office/drawing/2014/main" id="{7DE843A2-8E19-3443-9530-9508B1C3E2C4}"/>
              </a:ext>
            </a:extLst>
          </p:cNvPr>
          <p:cNvSpPr>
            <a:spLocks noGrp="1"/>
          </p:cNvSpPr>
          <p:nvPr>
            <p:ph type="subTitle" idx="1"/>
          </p:nvPr>
        </p:nvSpPr>
        <p:spPr>
          <a:xfrm>
            <a:off x="1524000" y="3602038"/>
            <a:ext cx="9305924"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BE"/>
          </a:p>
        </p:txBody>
      </p:sp>
      <p:sp>
        <p:nvSpPr>
          <p:cNvPr id="6" name="Slide Number Placeholder 5">
            <a:extLst>
              <a:ext uri="{FF2B5EF4-FFF2-40B4-BE49-F238E27FC236}">
                <a16:creationId xmlns:a16="http://schemas.microsoft.com/office/drawing/2014/main" id="{34503B55-50E4-0943-A554-9D37B8BFAA84}"/>
              </a:ext>
            </a:extLst>
          </p:cNvPr>
          <p:cNvSpPr>
            <a:spLocks noGrp="1"/>
          </p:cNvSpPr>
          <p:nvPr>
            <p:ph type="sldNum" sz="quarter" idx="12"/>
          </p:nvPr>
        </p:nvSpPr>
        <p:spPr/>
        <p:txBody>
          <a:bodyPr/>
          <a:lstStyle/>
          <a:p>
            <a:fld id="{C5740EB3-131C-D14C-BCB4-8A662C3227B4}" type="slidenum">
              <a:rPr lang="en-BE" smtClean="0"/>
              <a:t>‹#›</a:t>
            </a:fld>
            <a:endParaRPr lang="en-BE"/>
          </a:p>
        </p:txBody>
      </p:sp>
      <p:pic>
        <p:nvPicPr>
          <p:cNvPr id="21" name="Picture 20" descr="Logo&#10;&#10;Description automatically generated">
            <a:extLst>
              <a:ext uri="{FF2B5EF4-FFF2-40B4-BE49-F238E27FC236}">
                <a16:creationId xmlns:a16="http://schemas.microsoft.com/office/drawing/2014/main" id="{9928E860-22A0-5E46-B8D0-91D706DC49CA}"/>
              </a:ext>
            </a:extLst>
          </p:cNvPr>
          <p:cNvPicPr>
            <a:picLocks noChangeAspect="1"/>
          </p:cNvPicPr>
          <p:nvPr userDrawn="1"/>
        </p:nvPicPr>
        <p:blipFill>
          <a:blip r:embed="rId3"/>
          <a:stretch>
            <a:fillRect/>
          </a:stretch>
        </p:blipFill>
        <p:spPr>
          <a:xfrm>
            <a:off x="9047748" y="207466"/>
            <a:ext cx="2743200" cy="731244"/>
          </a:xfrm>
          <a:prstGeom prst="rect">
            <a:avLst/>
          </a:prstGeom>
        </p:spPr>
      </p:pic>
    </p:spTree>
    <p:extLst>
      <p:ext uri="{BB962C8B-B14F-4D97-AF65-F5344CB8AC3E}">
        <p14:creationId xmlns:p14="http://schemas.microsoft.com/office/powerpoint/2010/main" val="1516667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2" name="Title 1"/>
          <p:cNvSpPr>
            <a:spLocks noGrp="1"/>
          </p:cNvSpPr>
          <p:nvPr>
            <p:ph type="title"/>
          </p:nvPr>
        </p:nvSpPr>
        <p:spPr>
          <a:xfrm>
            <a:off x="1419730" y="757765"/>
            <a:ext cx="10515600" cy="1273215"/>
          </a:xfrm>
        </p:spPr>
        <p:txBody>
          <a:bodyPr>
            <a:normAutofit/>
          </a:bodyPr>
          <a:lstStyle>
            <a:lvl1pPr>
              <a:defRPr sz="4800">
                <a:solidFill>
                  <a:schemeClr val="tx1">
                    <a:lumMod val="50000"/>
                    <a:lumOff val="50000"/>
                  </a:schemeClr>
                </a:solidFill>
              </a:defRPr>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6652261" y="0"/>
            <a:ext cx="5539740" cy="6858000"/>
          </a:xfrm>
        </p:spPr>
        <p:txBody>
          <a:bodyPr/>
          <a:lstStyle/>
          <a:p>
            <a:endParaRPr lang="id-ID"/>
          </a:p>
        </p:txBody>
      </p:sp>
      <p:sp>
        <p:nvSpPr>
          <p:cNvPr id="13" name="Rectangle 5">
            <a:extLst>
              <a:ext uri="{FF2B5EF4-FFF2-40B4-BE49-F238E27FC236}">
                <a16:creationId xmlns:a16="http://schemas.microsoft.com/office/drawing/2014/main" id="{16C1DF48-359F-7546-B528-B6FD4C829300}"/>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38E2C6DE-55B9-3D49-AF5C-D641DC2D638C}"/>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71785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olo e contenuto">
    <p:bg>
      <p:bgPr>
        <a:blipFill dpi="0" rotWithShape="1">
          <a:blip r:embed="rId2">
            <a:alphaModFix amt="9000"/>
            <a:lum/>
          </a:blip>
          <a:srcRect/>
          <a:stretch>
            <a:fillRect l="-14000" t="4000" r="-1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155B2-E64C-314E-9D53-3DB7D53C2898}"/>
              </a:ext>
            </a:extLst>
          </p:cNvPr>
          <p:cNvSpPr>
            <a:spLocks noGrp="1"/>
          </p:cNvSpPr>
          <p:nvPr>
            <p:ph type="title" hasCustomPrompt="1"/>
          </p:nvPr>
        </p:nvSpPr>
        <p:spPr/>
        <p:txBody>
          <a:bodyPr>
            <a:normAutofit/>
          </a:bodyPr>
          <a:lstStyle>
            <a:lvl1pPr>
              <a:defRPr sz="3600" b="1"/>
            </a:lvl1pPr>
          </a:lstStyle>
          <a:p>
            <a:r>
              <a:rPr lang="en-GB"/>
              <a:t>CLICK TO EDIT MASTER TITLE STYLE</a:t>
            </a:r>
            <a:endParaRPr lang="en-BE"/>
          </a:p>
        </p:txBody>
      </p:sp>
      <p:sp>
        <p:nvSpPr>
          <p:cNvPr id="3" name="Content Placeholder 2">
            <a:extLst>
              <a:ext uri="{FF2B5EF4-FFF2-40B4-BE49-F238E27FC236}">
                <a16:creationId xmlns:a16="http://schemas.microsoft.com/office/drawing/2014/main" id="{CE567390-4662-2C46-94D2-6AB55DCE9199}"/>
              </a:ext>
            </a:extLst>
          </p:cNvPr>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BE"/>
          </a:p>
        </p:txBody>
      </p:sp>
      <p:sp>
        <p:nvSpPr>
          <p:cNvPr id="5" name="Footer Placeholder 4">
            <a:extLst>
              <a:ext uri="{FF2B5EF4-FFF2-40B4-BE49-F238E27FC236}">
                <a16:creationId xmlns:a16="http://schemas.microsoft.com/office/drawing/2014/main" id="{5979E78A-CC89-1D42-8EB1-BA4FD98FA100}"/>
              </a:ext>
            </a:extLst>
          </p:cNvPr>
          <p:cNvSpPr>
            <a:spLocks noGrp="1"/>
          </p:cNvSpPr>
          <p:nvPr>
            <p:ph type="ftr" sz="quarter" idx="11"/>
          </p:nvPr>
        </p:nvSpPr>
        <p:spPr>
          <a:xfrm>
            <a:off x="4130278" y="6305549"/>
            <a:ext cx="4114800" cy="365125"/>
          </a:xfrm>
          <a:prstGeom prst="rect">
            <a:avLst/>
          </a:prstGeom>
        </p:spPr>
        <p:txBody>
          <a:bodyPr/>
          <a:lstStyle/>
          <a:p>
            <a:endParaRPr lang="en-BE"/>
          </a:p>
        </p:txBody>
      </p:sp>
      <p:sp>
        <p:nvSpPr>
          <p:cNvPr id="6" name="Slide Number Placeholder 5">
            <a:extLst>
              <a:ext uri="{FF2B5EF4-FFF2-40B4-BE49-F238E27FC236}">
                <a16:creationId xmlns:a16="http://schemas.microsoft.com/office/drawing/2014/main" id="{A54164C7-E644-D74C-8B97-ED5FAD95D926}"/>
              </a:ext>
            </a:extLst>
          </p:cNvPr>
          <p:cNvSpPr>
            <a:spLocks noGrp="1"/>
          </p:cNvSpPr>
          <p:nvPr>
            <p:ph type="sldNum" sz="quarter" idx="12"/>
          </p:nvPr>
        </p:nvSpPr>
        <p:spPr/>
        <p:txBody>
          <a:bodyPr/>
          <a:lstStyle/>
          <a:p>
            <a:fld id="{C5740EB3-131C-D14C-BCB4-8A662C3227B4}" type="slidenum">
              <a:rPr lang="en-BE" smtClean="0"/>
              <a:t>‹#›</a:t>
            </a:fld>
            <a:endParaRPr lang="en-BE"/>
          </a:p>
        </p:txBody>
      </p:sp>
      <p:pic>
        <p:nvPicPr>
          <p:cNvPr id="12" name="Picture 11" descr="Logo&#10;&#10;Description automatically generated">
            <a:extLst>
              <a:ext uri="{FF2B5EF4-FFF2-40B4-BE49-F238E27FC236}">
                <a16:creationId xmlns:a16="http://schemas.microsoft.com/office/drawing/2014/main" id="{258C1C7D-8404-CC45-8833-59B44FC2BD1E}"/>
              </a:ext>
            </a:extLst>
          </p:cNvPr>
          <p:cNvPicPr>
            <a:picLocks noChangeAspect="1"/>
          </p:cNvPicPr>
          <p:nvPr userDrawn="1"/>
        </p:nvPicPr>
        <p:blipFill>
          <a:blip r:embed="rId3"/>
          <a:stretch>
            <a:fillRect/>
          </a:stretch>
        </p:blipFill>
        <p:spPr>
          <a:xfrm>
            <a:off x="9047748" y="207466"/>
            <a:ext cx="2743200" cy="731244"/>
          </a:xfrm>
          <a:prstGeom prst="rect">
            <a:avLst/>
          </a:prstGeom>
        </p:spPr>
      </p:pic>
    </p:spTree>
    <p:extLst>
      <p:ext uri="{BB962C8B-B14F-4D97-AF65-F5344CB8AC3E}">
        <p14:creationId xmlns:p14="http://schemas.microsoft.com/office/powerpoint/2010/main" val="26914491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Intestazione sezione">
    <p:bg>
      <p:bgPr>
        <a:blipFill dpi="0" rotWithShape="1">
          <a:blip r:embed="rId2">
            <a:alphaModFix amt="9000"/>
            <a:lum/>
          </a:blip>
          <a:srcRect/>
          <a:stretch>
            <a:fillRect l="-14000" t="4000" r="-1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DCE68-AD8E-074B-A9FA-E0EE89E817E2}"/>
              </a:ext>
            </a:extLst>
          </p:cNvPr>
          <p:cNvSpPr>
            <a:spLocks noGrp="1"/>
          </p:cNvSpPr>
          <p:nvPr>
            <p:ph type="title" hasCustomPrompt="1"/>
          </p:nvPr>
        </p:nvSpPr>
        <p:spPr>
          <a:xfrm>
            <a:off x="831850" y="1709738"/>
            <a:ext cx="10515600" cy="2852737"/>
          </a:xfrm>
        </p:spPr>
        <p:txBody>
          <a:bodyPr anchor="b">
            <a:normAutofit/>
          </a:bodyPr>
          <a:lstStyle>
            <a:lvl1pPr>
              <a:defRPr sz="4800" b="1"/>
            </a:lvl1pPr>
          </a:lstStyle>
          <a:p>
            <a:r>
              <a:rPr lang="en-GB"/>
              <a:t>CLICK TO EDIT MASTER TITLE STYLE</a:t>
            </a:r>
            <a:endParaRPr lang="en-BE"/>
          </a:p>
        </p:txBody>
      </p:sp>
      <p:sp>
        <p:nvSpPr>
          <p:cNvPr id="3" name="Text Placeholder 2">
            <a:extLst>
              <a:ext uri="{FF2B5EF4-FFF2-40B4-BE49-F238E27FC236}">
                <a16:creationId xmlns:a16="http://schemas.microsoft.com/office/drawing/2014/main" id="{2D498428-5157-6E41-94BD-EB72C2F62C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Modifica gli stili del testo dello schema</a:t>
            </a:r>
          </a:p>
        </p:txBody>
      </p:sp>
      <p:sp>
        <p:nvSpPr>
          <p:cNvPr id="6" name="Slide Number Placeholder 5">
            <a:extLst>
              <a:ext uri="{FF2B5EF4-FFF2-40B4-BE49-F238E27FC236}">
                <a16:creationId xmlns:a16="http://schemas.microsoft.com/office/drawing/2014/main" id="{073A5D2F-8EA6-C64D-AAA1-6C346B2980AF}"/>
              </a:ext>
            </a:extLst>
          </p:cNvPr>
          <p:cNvSpPr>
            <a:spLocks noGrp="1"/>
          </p:cNvSpPr>
          <p:nvPr>
            <p:ph type="sldNum" sz="quarter" idx="12"/>
          </p:nvPr>
        </p:nvSpPr>
        <p:spPr/>
        <p:txBody>
          <a:bodyPr/>
          <a:lstStyle>
            <a:lvl1pPr>
              <a:defRPr>
                <a:solidFill>
                  <a:schemeClr val="bg1"/>
                </a:solidFill>
              </a:defRPr>
            </a:lvl1pPr>
          </a:lstStyle>
          <a:p>
            <a:fld id="{C5740EB3-131C-D14C-BCB4-8A662C3227B4}" type="slidenum">
              <a:rPr lang="en-BE" smtClean="0"/>
              <a:pPr/>
              <a:t>‹#›</a:t>
            </a:fld>
            <a:endParaRPr lang="en-BE"/>
          </a:p>
        </p:txBody>
      </p:sp>
      <p:pic>
        <p:nvPicPr>
          <p:cNvPr id="11" name="Picture 10" descr="Logo&#10;&#10;Description automatically generated">
            <a:extLst>
              <a:ext uri="{FF2B5EF4-FFF2-40B4-BE49-F238E27FC236}">
                <a16:creationId xmlns:a16="http://schemas.microsoft.com/office/drawing/2014/main" id="{A738441D-DBB3-6E47-998D-B9F2ED934582}"/>
              </a:ext>
            </a:extLst>
          </p:cNvPr>
          <p:cNvPicPr>
            <a:picLocks noChangeAspect="1"/>
          </p:cNvPicPr>
          <p:nvPr userDrawn="1"/>
        </p:nvPicPr>
        <p:blipFill>
          <a:blip r:embed="rId3"/>
          <a:stretch>
            <a:fillRect/>
          </a:stretch>
        </p:blipFill>
        <p:spPr>
          <a:xfrm>
            <a:off x="9047748" y="207466"/>
            <a:ext cx="2743200" cy="731244"/>
          </a:xfrm>
          <a:prstGeom prst="rect">
            <a:avLst/>
          </a:prstGeom>
        </p:spPr>
      </p:pic>
    </p:spTree>
    <p:extLst>
      <p:ext uri="{BB962C8B-B14F-4D97-AF65-F5344CB8AC3E}">
        <p14:creationId xmlns:p14="http://schemas.microsoft.com/office/powerpoint/2010/main" val="3361586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ue contenuti">
    <p:bg>
      <p:bgPr>
        <a:blipFill dpi="0" rotWithShape="1">
          <a:blip r:embed="rId2">
            <a:alphaModFix amt="9000"/>
            <a:lum/>
          </a:blip>
          <a:srcRect/>
          <a:stretch>
            <a:fillRect l="-14000" t="4000" r="-1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96B2E-C6E2-154F-87AC-28B70393C3B1}"/>
              </a:ext>
            </a:extLst>
          </p:cNvPr>
          <p:cNvSpPr>
            <a:spLocks noGrp="1"/>
          </p:cNvSpPr>
          <p:nvPr>
            <p:ph type="title" hasCustomPrompt="1"/>
          </p:nvPr>
        </p:nvSpPr>
        <p:spPr/>
        <p:txBody>
          <a:bodyPr>
            <a:normAutofit/>
          </a:bodyPr>
          <a:lstStyle>
            <a:lvl1pPr>
              <a:defRPr sz="3600" b="1"/>
            </a:lvl1pPr>
          </a:lstStyle>
          <a:p>
            <a:r>
              <a:rPr lang="en-GB"/>
              <a:t>CLICK TO EDIT MASTER TITLE STYLE</a:t>
            </a:r>
            <a:endParaRPr lang="en-BE"/>
          </a:p>
        </p:txBody>
      </p:sp>
      <p:sp>
        <p:nvSpPr>
          <p:cNvPr id="3" name="Content Placeholder 2">
            <a:extLst>
              <a:ext uri="{FF2B5EF4-FFF2-40B4-BE49-F238E27FC236}">
                <a16:creationId xmlns:a16="http://schemas.microsoft.com/office/drawing/2014/main" id="{EF99862F-0932-4948-BA09-53B8506CB2CD}"/>
              </a:ext>
            </a:extLst>
          </p:cNvPr>
          <p:cNvSpPr>
            <a:spLocks noGrp="1"/>
          </p:cNvSpPr>
          <p:nvPr>
            <p:ph sz="half" idx="1"/>
          </p:nvPr>
        </p:nvSpPr>
        <p:spPr>
          <a:xfrm>
            <a:off x="838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BE"/>
          </a:p>
        </p:txBody>
      </p:sp>
      <p:sp>
        <p:nvSpPr>
          <p:cNvPr id="4" name="Content Placeholder 3">
            <a:extLst>
              <a:ext uri="{FF2B5EF4-FFF2-40B4-BE49-F238E27FC236}">
                <a16:creationId xmlns:a16="http://schemas.microsoft.com/office/drawing/2014/main" id="{8A51AD78-2ACC-8E4F-A692-84BD7A485FDC}"/>
              </a:ext>
            </a:extLst>
          </p:cNvPr>
          <p:cNvSpPr>
            <a:spLocks noGrp="1"/>
          </p:cNvSpPr>
          <p:nvPr>
            <p:ph sz="half" idx="2"/>
          </p:nvPr>
        </p:nvSpPr>
        <p:spPr>
          <a:xfrm>
            <a:off x="6172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BE"/>
          </a:p>
        </p:txBody>
      </p:sp>
      <p:sp>
        <p:nvSpPr>
          <p:cNvPr id="7" name="Slide Number Placeholder 6">
            <a:extLst>
              <a:ext uri="{FF2B5EF4-FFF2-40B4-BE49-F238E27FC236}">
                <a16:creationId xmlns:a16="http://schemas.microsoft.com/office/drawing/2014/main" id="{3950010B-9C73-C240-835F-E2BC766748FA}"/>
              </a:ext>
            </a:extLst>
          </p:cNvPr>
          <p:cNvSpPr>
            <a:spLocks noGrp="1"/>
          </p:cNvSpPr>
          <p:nvPr>
            <p:ph type="sldNum" sz="quarter" idx="12"/>
          </p:nvPr>
        </p:nvSpPr>
        <p:spPr/>
        <p:txBody>
          <a:bodyPr/>
          <a:lstStyle/>
          <a:p>
            <a:fld id="{C5740EB3-131C-D14C-BCB4-8A662C3227B4}" type="slidenum">
              <a:rPr lang="en-BE" smtClean="0"/>
              <a:t>‹#›</a:t>
            </a:fld>
            <a:endParaRPr lang="en-BE"/>
          </a:p>
        </p:txBody>
      </p:sp>
      <p:pic>
        <p:nvPicPr>
          <p:cNvPr id="11" name="Picture 10" descr="Logo&#10;&#10;Description automatically generated">
            <a:extLst>
              <a:ext uri="{FF2B5EF4-FFF2-40B4-BE49-F238E27FC236}">
                <a16:creationId xmlns:a16="http://schemas.microsoft.com/office/drawing/2014/main" id="{30B9BFF9-54CC-B546-9544-BCB22E34B59C}"/>
              </a:ext>
            </a:extLst>
          </p:cNvPr>
          <p:cNvPicPr>
            <a:picLocks noChangeAspect="1"/>
          </p:cNvPicPr>
          <p:nvPr userDrawn="1"/>
        </p:nvPicPr>
        <p:blipFill>
          <a:blip r:embed="rId3"/>
          <a:stretch>
            <a:fillRect/>
          </a:stretch>
        </p:blipFill>
        <p:spPr>
          <a:xfrm>
            <a:off x="9047748" y="207466"/>
            <a:ext cx="2743200" cy="731244"/>
          </a:xfrm>
          <a:prstGeom prst="rect">
            <a:avLst/>
          </a:prstGeom>
        </p:spPr>
      </p:pic>
    </p:spTree>
    <p:extLst>
      <p:ext uri="{BB962C8B-B14F-4D97-AF65-F5344CB8AC3E}">
        <p14:creationId xmlns:p14="http://schemas.microsoft.com/office/powerpoint/2010/main" val="29668742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Solo titolo">
    <p:bg>
      <p:bgPr>
        <a:blipFill dpi="0" rotWithShape="1">
          <a:blip r:embed="rId2">
            <a:alphaModFix amt="9000"/>
            <a:lum/>
          </a:blip>
          <a:srcRect/>
          <a:stretch>
            <a:fillRect l="-14000" t="4000" r="-1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9E6C4-1F79-F449-8C3F-9DCEBD0682E7}"/>
              </a:ext>
            </a:extLst>
          </p:cNvPr>
          <p:cNvSpPr>
            <a:spLocks noGrp="1"/>
          </p:cNvSpPr>
          <p:nvPr>
            <p:ph type="title" hasCustomPrompt="1"/>
          </p:nvPr>
        </p:nvSpPr>
        <p:spPr/>
        <p:txBody>
          <a:bodyPr>
            <a:normAutofit/>
          </a:bodyPr>
          <a:lstStyle>
            <a:lvl1pPr>
              <a:defRPr sz="3600" b="1"/>
            </a:lvl1pPr>
          </a:lstStyle>
          <a:p>
            <a:r>
              <a:rPr lang="en-GB"/>
              <a:t>CLICK TO EDIT MASTER TITLE STYLE</a:t>
            </a:r>
            <a:endParaRPr lang="en-BE"/>
          </a:p>
        </p:txBody>
      </p:sp>
      <p:sp>
        <p:nvSpPr>
          <p:cNvPr id="5" name="Slide Number Placeholder 4">
            <a:extLst>
              <a:ext uri="{FF2B5EF4-FFF2-40B4-BE49-F238E27FC236}">
                <a16:creationId xmlns:a16="http://schemas.microsoft.com/office/drawing/2014/main" id="{BF6AECD0-123D-9E4C-8B00-D3C8A39ABE2E}"/>
              </a:ext>
            </a:extLst>
          </p:cNvPr>
          <p:cNvSpPr>
            <a:spLocks noGrp="1"/>
          </p:cNvSpPr>
          <p:nvPr>
            <p:ph type="sldNum" sz="quarter" idx="12"/>
          </p:nvPr>
        </p:nvSpPr>
        <p:spPr/>
        <p:txBody>
          <a:bodyPr/>
          <a:lstStyle/>
          <a:p>
            <a:fld id="{C5740EB3-131C-D14C-BCB4-8A662C3227B4}" type="slidenum">
              <a:rPr lang="en-BE" smtClean="0"/>
              <a:t>‹#›</a:t>
            </a:fld>
            <a:endParaRPr lang="en-BE"/>
          </a:p>
        </p:txBody>
      </p:sp>
      <p:pic>
        <p:nvPicPr>
          <p:cNvPr id="9" name="Picture 8" descr="Logo&#10;&#10;Description automatically generated">
            <a:extLst>
              <a:ext uri="{FF2B5EF4-FFF2-40B4-BE49-F238E27FC236}">
                <a16:creationId xmlns:a16="http://schemas.microsoft.com/office/drawing/2014/main" id="{CCF9176C-F606-A24C-9D6B-F76200542653}"/>
              </a:ext>
            </a:extLst>
          </p:cNvPr>
          <p:cNvPicPr>
            <a:picLocks noChangeAspect="1"/>
          </p:cNvPicPr>
          <p:nvPr userDrawn="1"/>
        </p:nvPicPr>
        <p:blipFill>
          <a:blip r:embed="rId3"/>
          <a:stretch>
            <a:fillRect/>
          </a:stretch>
        </p:blipFill>
        <p:spPr>
          <a:xfrm>
            <a:off x="9047748" y="207466"/>
            <a:ext cx="2743200" cy="731244"/>
          </a:xfrm>
          <a:prstGeom prst="rect">
            <a:avLst/>
          </a:prstGeom>
        </p:spPr>
      </p:pic>
    </p:spTree>
    <p:extLst>
      <p:ext uri="{BB962C8B-B14F-4D97-AF65-F5344CB8AC3E}">
        <p14:creationId xmlns:p14="http://schemas.microsoft.com/office/powerpoint/2010/main" val="17677575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Vuota">
    <p:bg>
      <p:bgPr>
        <a:blipFill dpi="0" rotWithShape="1">
          <a:blip r:embed="rId2">
            <a:alphaModFix amt="9000"/>
            <a:lum/>
          </a:blip>
          <a:srcRect/>
          <a:stretch>
            <a:fillRect l="-14000" t="4000" r="-14000"/>
          </a:stretch>
        </a:blipFill>
        <a:effectLst/>
      </p:bgPr>
    </p:bg>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4566183E-AAA1-174E-9AAF-D7EFF44918BA}"/>
              </a:ext>
            </a:extLst>
          </p:cNvPr>
          <p:cNvPicPr>
            <a:picLocks noChangeAspect="1"/>
          </p:cNvPicPr>
          <p:nvPr userDrawn="1"/>
        </p:nvPicPr>
        <p:blipFill>
          <a:blip r:embed="rId3"/>
          <a:stretch>
            <a:fillRect/>
          </a:stretch>
        </p:blipFill>
        <p:spPr>
          <a:xfrm>
            <a:off x="9047748" y="207466"/>
            <a:ext cx="2743200" cy="731244"/>
          </a:xfrm>
          <a:prstGeom prst="rect">
            <a:avLst/>
          </a:prstGeom>
        </p:spPr>
      </p:pic>
    </p:spTree>
    <p:extLst>
      <p:ext uri="{BB962C8B-B14F-4D97-AF65-F5344CB8AC3E}">
        <p14:creationId xmlns:p14="http://schemas.microsoft.com/office/powerpoint/2010/main" val="3363942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Last slide">
    <p:bg>
      <p:bgPr>
        <a:solidFill>
          <a:schemeClr val="bg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378DA7-9834-3846-83B3-00301D01B7B1}"/>
              </a:ext>
            </a:extLst>
          </p:cNvPr>
          <p:cNvSpPr>
            <a:spLocks noGrp="1"/>
          </p:cNvSpPr>
          <p:nvPr>
            <p:ph type="sldNum" sz="quarter" idx="12"/>
          </p:nvPr>
        </p:nvSpPr>
        <p:spPr/>
        <p:txBody>
          <a:bodyPr/>
          <a:lstStyle>
            <a:lvl1pPr>
              <a:defRPr>
                <a:solidFill>
                  <a:schemeClr val="tx1"/>
                </a:solidFill>
              </a:defRPr>
            </a:lvl1pPr>
          </a:lstStyle>
          <a:p>
            <a:fld id="{C5740EB3-131C-D14C-BCB4-8A662C3227B4}" type="slidenum">
              <a:rPr lang="en-BE" smtClean="0"/>
              <a:pPr/>
              <a:t>‹#›</a:t>
            </a:fld>
            <a:endParaRPr lang="en-BE"/>
          </a:p>
        </p:txBody>
      </p:sp>
      <p:pic>
        <p:nvPicPr>
          <p:cNvPr id="10" name="Picture 9" descr="Logo&#10;&#10;Description automatically generated">
            <a:extLst>
              <a:ext uri="{FF2B5EF4-FFF2-40B4-BE49-F238E27FC236}">
                <a16:creationId xmlns:a16="http://schemas.microsoft.com/office/drawing/2014/main" id="{A7B8A40A-EA10-E448-8759-38F43316C2BB}"/>
              </a:ext>
            </a:extLst>
          </p:cNvPr>
          <p:cNvPicPr>
            <a:picLocks noChangeAspect="1"/>
          </p:cNvPicPr>
          <p:nvPr userDrawn="1"/>
        </p:nvPicPr>
        <p:blipFill>
          <a:blip r:embed="rId2"/>
          <a:stretch>
            <a:fillRect/>
          </a:stretch>
        </p:blipFill>
        <p:spPr>
          <a:xfrm>
            <a:off x="1879600" y="2038933"/>
            <a:ext cx="8432800" cy="2247900"/>
          </a:xfrm>
          <a:prstGeom prst="rect">
            <a:avLst/>
          </a:prstGeom>
        </p:spPr>
      </p:pic>
      <p:sp>
        <p:nvSpPr>
          <p:cNvPr id="15" name="Rectangle 14">
            <a:extLst>
              <a:ext uri="{FF2B5EF4-FFF2-40B4-BE49-F238E27FC236}">
                <a16:creationId xmlns:a16="http://schemas.microsoft.com/office/drawing/2014/main" id="{6C3E4C29-64B1-F748-877C-FF0F320A40DF}"/>
              </a:ext>
            </a:extLst>
          </p:cNvPr>
          <p:cNvSpPr/>
          <p:nvPr userDrawn="1"/>
        </p:nvSpPr>
        <p:spPr>
          <a:xfrm>
            <a:off x="0" y="5614736"/>
            <a:ext cx="12192000" cy="12432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Footer Placeholder 4">
            <a:extLst>
              <a:ext uri="{FF2B5EF4-FFF2-40B4-BE49-F238E27FC236}">
                <a16:creationId xmlns:a16="http://schemas.microsoft.com/office/drawing/2014/main" id="{8630A999-5A8F-4AF9-B647-40B1738E0871}"/>
              </a:ext>
            </a:extLst>
          </p:cNvPr>
          <p:cNvSpPr txBox="1">
            <a:spLocks/>
          </p:cNvSpPr>
          <p:nvPr userDrawn="1"/>
        </p:nvSpPr>
        <p:spPr>
          <a:xfrm>
            <a:off x="5270280" y="5989187"/>
            <a:ext cx="6551017" cy="365125"/>
          </a:xfrm>
          <a:prstGeom prst="rect">
            <a:avLst/>
          </a:prstGeom>
        </p:spPr>
        <p:txBody>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GB" sz="800" b="0" i="1">
                <a:solidFill>
                  <a:srgbClr val="222222"/>
                </a:solidFill>
                <a:effectLst/>
                <a:latin typeface="Calibri Light" panose="020F0302020204030204" pitchFamily="34" charset="0"/>
              </a:rPr>
              <a:t>The views represented in this document only reflect the views of the authors and not the views of EACEA and the European Commission. EACEA and the European Commission are not liable for any use that may be made of the information contained in this document. Furthermore, the information is provided “as is” and no guarantee or warranty is given that the information fit for any particular purpose. The user of the information uses it as its sole risk and liability.</a:t>
            </a:r>
            <a:endParaRPr lang="en-BE" sz="800">
              <a:solidFill>
                <a:schemeClr val="bg1"/>
              </a:solidFill>
            </a:endParaRPr>
          </a:p>
          <a:p>
            <a:r>
              <a:rPr lang="en-BE" sz="1200">
                <a:solidFill>
                  <a:schemeClr val="bg1"/>
                </a:solidFill>
              </a:rPr>
              <a:t> </a:t>
            </a:r>
          </a:p>
          <a:p>
            <a:endParaRPr lang="en-BE" sz="1200">
              <a:solidFill>
                <a:schemeClr val="bg1"/>
              </a:solidFill>
            </a:endParaRPr>
          </a:p>
        </p:txBody>
      </p:sp>
      <p:pic>
        <p:nvPicPr>
          <p:cNvPr id="11" name="Immagine 10" descr="Immagine che contiene testo&#10;&#10;Descrizione generata automaticamente">
            <a:extLst>
              <a:ext uri="{FF2B5EF4-FFF2-40B4-BE49-F238E27FC236}">
                <a16:creationId xmlns:a16="http://schemas.microsoft.com/office/drawing/2014/main" id="{3896BFC5-B5F5-40F4-9FB2-124442C81FF3}"/>
              </a:ext>
            </a:extLst>
          </p:cNvPr>
          <p:cNvPicPr>
            <a:picLocks noChangeAspect="1"/>
          </p:cNvPicPr>
          <p:nvPr userDrawn="1"/>
        </p:nvPicPr>
        <p:blipFill>
          <a:blip r:embed="rId3"/>
          <a:stretch>
            <a:fillRect/>
          </a:stretch>
        </p:blipFill>
        <p:spPr>
          <a:xfrm>
            <a:off x="156412" y="6229815"/>
            <a:ext cx="2562726" cy="526119"/>
          </a:xfrm>
          <a:prstGeom prst="rect">
            <a:avLst/>
          </a:prstGeom>
        </p:spPr>
      </p:pic>
    </p:spTree>
    <p:extLst>
      <p:ext uri="{BB962C8B-B14F-4D97-AF65-F5344CB8AC3E}">
        <p14:creationId xmlns:p14="http://schemas.microsoft.com/office/powerpoint/2010/main" val="1639423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1A6970"/>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1/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03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Welcome Message">
    <p:spTree>
      <p:nvGrpSpPr>
        <p:cNvPr id="1" name=""/>
        <p:cNvGrpSpPr/>
        <p:nvPr/>
      </p:nvGrpSpPr>
      <p:grpSpPr>
        <a:xfrm>
          <a:off x="0" y="0"/>
          <a:ext cx="0" cy="0"/>
          <a:chOff x="0" y="0"/>
          <a:chExt cx="0" cy="0"/>
        </a:xfrm>
      </p:grpSpPr>
      <p:sp>
        <p:nvSpPr>
          <p:cNvPr id="2" name="Title 1"/>
          <p:cNvSpPr>
            <a:spLocks noGrp="1"/>
          </p:cNvSpPr>
          <p:nvPr>
            <p:ph type="title"/>
          </p:nvPr>
        </p:nvSpPr>
        <p:spPr>
          <a:xfrm>
            <a:off x="1419730" y="757765"/>
            <a:ext cx="10515600" cy="1273215"/>
          </a:xfrm>
        </p:spPr>
        <p:txBody>
          <a:bodyPr>
            <a:normAutofit/>
          </a:bodyPr>
          <a:lstStyle>
            <a:lvl1pPr>
              <a:defRPr sz="4800">
                <a:solidFill>
                  <a:schemeClr val="tx1">
                    <a:lumMod val="50000"/>
                    <a:lumOff val="50000"/>
                  </a:schemeClr>
                </a:solidFill>
              </a:defRPr>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6652261" y="0"/>
            <a:ext cx="5539740" cy="6858000"/>
          </a:xfrm>
        </p:spPr>
        <p:txBody>
          <a:bodyPr/>
          <a:lstStyle/>
          <a:p>
            <a:endParaRPr lang="id-ID"/>
          </a:p>
        </p:txBody>
      </p:sp>
      <p:sp>
        <p:nvSpPr>
          <p:cNvPr id="11" name="Rectangle 5">
            <a:extLst>
              <a:ext uri="{FF2B5EF4-FFF2-40B4-BE49-F238E27FC236}">
                <a16:creationId xmlns:a16="http://schemas.microsoft.com/office/drawing/2014/main" id="{3B8BBEA8-7C0E-7F48-B32E-F2BA93C87792}"/>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203A3D35-ADDD-F240-B370-119486337D14}"/>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1036435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8153400" y="0"/>
            <a:ext cx="4038601" cy="6858000"/>
          </a:xfrm>
        </p:spPr>
        <p:txBody>
          <a:bodyPr/>
          <a:lstStyle/>
          <a:p>
            <a:endParaRPr lang="id-ID"/>
          </a:p>
        </p:txBody>
      </p:sp>
      <p:sp>
        <p:nvSpPr>
          <p:cNvPr id="13" name="Rectangle 5">
            <a:extLst>
              <a:ext uri="{FF2B5EF4-FFF2-40B4-BE49-F238E27FC236}">
                <a16:creationId xmlns:a16="http://schemas.microsoft.com/office/drawing/2014/main" id="{D04C83A6-5AC3-0D42-A9B6-074B40480457}"/>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8379BEA9-2DAE-AA42-81A5-E2B33D778199}"/>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637462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8" name="Picture Placeholder 7"/>
          <p:cNvSpPr>
            <a:spLocks noGrp="1"/>
          </p:cNvSpPr>
          <p:nvPr>
            <p:ph type="pic" sz="quarter" idx="13"/>
          </p:nvPr>
        </p:nvSpPr>
        <p:spPr>
          <a:xfrm>
            <a:off x="7945120" y="0"/>
            <a:ext cx="4246881" cy="6858000"/>
          </a:xfrm>
        </p:spPr>
        <p:txBody>
          <a:bodyPr/>
          <a:lstStyle/>
          <a:p>
            <a:endParaRPr lang="id-ID"/>
          </a:p>
        </p:txBody>
      </p:sp>
      <p:sp>
        <p:nvSpPr>
          <p:cNvPr id="13" name="Rectangle 5">
            <a:extLst>
              <a:ext uri="{FF2B5EF4-FFF2-40B4-BE49-F238E27FC236}">
                <a16:creationId xmlns:a16="http://schemas.microsoft.com/office/drawing/2014/main" id="{A2936E54-6B0B-2C49-A98E-72BCFFDE99DF}"/>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Slide Number Placeholder 4">
            <a:extLst>
              <a:ext uri="{FF2B5EF4-FFF2-40B4-BE49-F238E27FC236}">
                <a16:creationId xmlns:a16="http://schemas.microsoft.com/office/drawing/2014/main" id="{955FE8EE-AEDC-D448-8B18-6AEBB4FAD6AE}"/>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1566265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1" name="Rectangle 5">
            <a:extLst>
              <a:ext uri="{FF2B5EF4-FFF2-40B4-BE49-F238E27FC236}">
                <a16:creationId xmlns:a16="http://schemas.microsoft.com/office/drawing/2014/main" id="{812D2C6D-98DA-E34F-ACAE-E98486FC9129}"/>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Slide Number Placeholder 4">
            <a:extLst>
              <a:ext uri="{FF2B5EF4-FFF2-40B4-BE49-F238E27FC236}">
                <a16:creationId xmlns:a16="http://schemas.microsoft.com/office/drawing/2014/main" id="{A87A6F23-E16C-AF47-85FB-6029690F7A59}"/>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340100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2" name="Picture Placeholder 4"/>
          <p:cNvSpPr>
            <a:spLocks noGrp="1"/>
          </p:cNvSpPr>
          <p:nvPr>
            <p:ph type="pic" sz="quarter" idx="13"/>
          </p:nvPr>
        </p:nvSpPr>
        <p:spPr>
          <a:xfrm>
            <a:off x="-2" y="3501016"/>
            <a:ext cx="2520000" cy="2340000"/>
          </a:xfrm>
          <a:prstGeom prst="rect">
            <a:avLst/>
          </a:prstGeom>
          <a:noFill/>
        </p:spPr>
      </p:sp>
      <p:sp>
        <p:nvSpPr>
          <p:cNvPr id="13" name="Picture Placeholder 5"/>
          <p:cNvSpPr>
            <a:spLocks noGrp="1"/>
          </p:cNvSpPr>
          <p:nvPr>
            <p:ph type="pic" sz="quarter" idx="14"/>
          </p:nvPr>
        </p:nvSpPr>
        <p:spPr>
          <a:xfrm>
            <a:off x="2519998" y="3501016"/>
            <a:ext cx="2520000" cy="2340000"/>
          </a:xfrm>
          <a:prstGeom prst="rect">
            <a:avLst/>
          </a:prstGeom>
          <a:noFill/>
        </p:spPr>
      </p:sp>
      <p:sp>
        <p:nvSpPr>
          <p:cNvPr id="14" name="Picture Placeholder 6"/>
          <p:cNvSpPr>
            <a:spLocks noGrp="1"/>
          </p:cNvSpPr>
          <p:nvPr>
            <p:ph type="pic" sz="quarter" idx="15"/>
          </p:nvPr>
        </p:nvSpPr>
        <p:spPr>
          <a:xfrm>
            <a:off x="9672000" y="3501016"/>
            <a:ext cx="2520000" cy="2340000"/>
          </a:xfrm>
          <a:prstGeom prst="rect">
            <a:avLst/>
          </a:prstGeom>
          <a:noFill/>
        </p:spPr>
      </p:sp>
      <p:sp>
        <p:nvSpPr>
          <p:cNvPr id="15" name="Picture Placeholder 5"/>
          <p:cNvSpPr>
            <a:spLocks noGrp="1"/>
          </p:cNvSpPr>
          <p:nvPr>
            <p:ph type="pic" sz="quarter" idx="16"/>
          </p:nvPr>
        </p:nvSpPr>
        <p:spPr>
          <a:xfrm>
            <a:off x="5039998" y="1899433"/>
            <a:ext cx="4632002" cy="2799500"/>
          </a:xfrm>
          <a:prstGeom prst="rect">
            <a:avLst/>
          </a:prstGeom>
          <a:noFill/>
        </p:spPr>
        <p:txBody>
          <a:bodyPr/>
          <a:lstStyle/>
          <a:p>
            <a:endParaRPr lang="id-ID"/>
          </a:p>
        </p:txBody>
      </p:sp>
      <p:sp>
        <p:nvSpPr>
          <p:cNvPr id="19" name="Rectangle 5">
            <a:extLst>
              <a:ext uri="{FF2B5EF4-FFF2-40B4-BE49-F238E27FC236}">
                <a16:creationId xmlns:a16="http://schemas.microsoft.com/office/drawing/2014/main" id="{B4BCEA0A-800A-8043-B6B4-F28E1EF1C36E}"/>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Slide Number Placeholder 4">
            <a:extLst>
              <a:ext uri="{FF2B5EF4-FFF2-40B4-BE49-F238E27FC236}">
                <a16:creationId xmlns:a16="http://schemas.microsoft.com/office/drawing/2014/main" id="{98BEF4F9-1277-CD4A-80BC-026EEB22A59F}"/>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2222069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9" grpId="0" animBg="1"/>
      <p:bldP spid="20"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19730" y="509287"/>
            <a:ext cx="10515600" cy="1273215"/>
          </a:xfrm>
        </p:spPr>
        <p:txBody>
          <a:bodyPr>
            <a:normAutofit/>
          </a:bodyPr>
          <a:lstStyle>
            <a:lvl1pPr>
              <a:defRPr sz="4800"/>
            </a:lvl1pPr>
          </a:lstStyle>
          <a:p>
            <a:r>
              <a:rPr lang="en-US"/>
              <a:t>Click to edit Master title style</a:t>
            </a:r>
            <a:endParaRPr lang="id-ID"/>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D94539-5DE1-49DC-931F-EB00AD7B7005}" type="datetime1">
              <a:rPr lang="id-ID" smtClean="0"/>
              <a:t>21/04/2023</a:t>
            </a:fld>
            <a:endParaRPr lang="id-ID"/>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id-ID"/>
          </a:p>
        </p:txBody>
      </p:sp>
      <p:sp>
        <p:nvSpPr>
          <p:cNvPr id="1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7"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8"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9"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tx1"/>
                </a:solidFill>
                <a:latin typeface="Poppins Light" charset="0"/>
                <a:ea typeface="Poppins Light" charset="0"/>
                <a:cs typeface="Poppins Light" charset="0"/>
              </a:defRPr>
            </a:lvl1pPr>
          </a:lstStyle>
          <a:p>
            <a:endParaRPr lang="en-US"/>
          </a:p>
        </p:txBody>
      </p:sp>
      <p:sp>
        <p:nvSpPr>
          <p:cNvPr id="15" name="Rectangle 5">
            <a:extLst>
              <a:ext uri="{FF2B5EF4-FFF2-40B4-BE49-F238E27FC236}">
                <a16:creationId xmlns:a16="http://schemas.microsoft.com/office/drawing/2014/main" id="{762EBF39-40C8-DC45-B9F8-2DC26C5E6F43}"/>
              </a:ext>
            </a:extLst>
          </p:cNvPr>
          <p:cNvSpPr/>
          <p:nvPr userDrawn="1"/>
        </p:nvSpPr>
        <p:spPr>
          <a:xfrm>
            <a:off x="401747" y="0"/>
            <a:ext cx="731986" cy="116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Slide Number Placeholder 4">
            <a:extLst>
              <a:ext uri="{FF2B5EF4-FFF2-40B4-BE49-F238E27FC236}">
                <a16:creationId xmlns:a16="http://schemas.microsoft.com/office/drawing/2014/main" id="{F0CA2C18-378C-CF4D-A5AF-AAEFCA215965}"/>
              </a:ext>
            </a:extLst>
          </p:cNvPr>
          <p:cNvSpPr txBox="1">
            <a:spLocks/>
          </p:cNvSpPr>
          <p:nvPr userDrawn="1"/>
        </p:nvSpPr>
        <p:spPr>
          <a:xfrm>
            <a:off x="115750" y="561896"/>
            <a:ext cx="1303980" cy="600838"/>
          </a:xfrm>
          <a:prstGeom prst="rect">
            <a:avLst/>
          </a:prstGeom>
        </p:spPr>
        <p:txBody>
          <a:bodyPr/>
          <a:lstStyle>
            <a:defPPr>
              <a:defRPr lang="id-ID"/>
            </a:defPPr>
            <a:lvl1pPr marL="0" algn="ctr" defTabSz="914400" rtl="0" eaLnBrk="1" latinLnBrk="0" hangingPunct="1">
              <a:defRPr sz="2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69DCAB-2F4C-4855-A2DD-8F41E74CAF44}" type="slidenum">
              <a:rPr lang="id-ID" smtClean="0">
                <a:solidFill>
                  <a:srgbClr val="364B7D"/>
                </a:solidFill>
              </a:rPr>
              <a:pPr/>
              <a:t>‹#›</a:t>
            </a:fld>
            <a:endParaRPr lang="id-ID">
              <a:solidFill>
                <a:srgbClr val="364B7D"/>
              </a:solidFill>
            </a:endParaRPr>
          </a:p>
        </p:txBody>
      </p:sp>
    </p:spTree>
    <p:extLst>
      <p:ext uri="{BB962C8B-B14F-4D97-AF65-F5344CB8AC3E}">
        <p14:creationId xmlns:p14="http://schemas.microsoft.com/office/powerpoint/2010/main" val="1428284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animBg="1"/>
      <p:bldP spid="20"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emf"/><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emf"/><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4.jpeg"/><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364B7D"/>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4323"/>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pic>
        <p:nvPicPr>
          <p:cNvPr id="5" name="Immagine 4">
            <a:extLst>
              <a:ext uri="{FF2B5EF4-FFF2-40B4-BE49-F238E27FC236}">
                <a16:creationId xmlns:a16="http://schemas.microsoft.com/office/drawing/2014/main" id="{B74E196B-AC53-B446-A793-EFB48626EB95}"/>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450975" y="152400"/>
            <a:ext cx="1485900" cy="901700"/>
          </a:xfrm>
          <a:prstGeom prst="rect">
            <a:avLst/>
          </a:prstGeom>
        </p:spPr>
      </p:pic>
    </p:spTree>
    <p:extLst>
      <p:ext uri="{BB962C8B-B14F-4D97-AF65-F5344CB8AC3E}">
        <p14:creationId xmlns:p14="http://schemas.microsoft.com/office/powerpoint/2010/main" val="122676458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65" r:id="rId4"/>
    <p:sldLayoutId id="2147483696" r:id="rId5"/>
    <p:sldLayoutId id="2147483697" r:id="rId6"/>
    <p:sldLayoutId id="2147483698" r:id="rId7"/>
    <p:sldLayoutId id="2147483691" r:id="rId8"/>
    <p:sldLayoutId id="2147483699" r:id="rId9"/>
  </p:sldLayoutIdLst>
  <p:hf hdr="0" ftr="0" dt="0"/>
  <p:txStyles>
    <p:titleStyle>
      <a:lvl1pPr algn="l" defTabSz="914400" rtl="0" eaLnBrk="1" latinLnBrk="0" hangingPunct="1">
        <a:lnSpc>
          <a:spcPct val="90000"/>
        </a:lnSpc>
        <a:spcBef>
          <a:spcPct val="0"/>
        </a:spcBef>
        <a:buNone/>
        <a:defRPr sz="4400" kern="1200">
          <a:solidFill>
            <a:schemeClr val="tx1">
              <a:lumMod val="50000"/>
              <a:lumOff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14">
          <p15:clr>
            <a:srgbClr val="F26B43"/>
          </p15:clr>
        </p15:guide>
        <p15:guide id="2" orient="horz" pos="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4323"/>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pic>
        <p:nvPicPr>
          <p:cNvPr id="4" name="Immagine 3">
            <a:extLst>
              <a:ext uri="{FF2B5EF4-FFF2-40B4-BE49-F238E27FC236}">
                <a16:creationId xmlns:a16="http://schemas.microsoft.com/office/drawing/2014/main" id="{E86ECB1A-693F-2041-AC72-F644481AEFFD}"/>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450975" y="150674"/>
            <a:ext cx="1485900" cy="901700"/>
          </a:xfrm>
          <a:prstGeom prst="rect">
            <a:avLst/>
          </a:prstGeom>
        </p:spPr>
      </p:pic>
    </p:spTree>
    <p:extLst>
      <p:ext uri="{BB962C8B-B14F-4D97-AF65-F5344CB8AC3E}">
        <p14:creationId xmlns:p14="http://schemas.microsoft.com/office/powerpoint/2010/main" val="36140195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Lst>
  <p:hf hdr="0" ftr="0" dt="0"/>
  <p:txStyles>
    <p:titleStyle>
      <a:lvl1pPr algn="l" defTabSz="914400" rtl="0" eaLnBrk="1" latinLnBrk="0" hangingPunct="1">
        <a:lnSpc>
          <a:spcPct val="90000"/>
        </a:lnSpc>
        <a:spcBef>
          <a:spcPct val="0"/>
        </a:spcBef>
        <a:buNone/>
        <a:defRPr sz="4400" kern="1200">
          <a:solidFill>
            <a:schemeClr val="tx1">
              <a:lumMod val="50000"/>
              <a:lumOff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1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364B7D"/>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4323"/>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pic>
        <p:nvPicPr>
          <p:cNvPr id="5" name="Immagine 4">
            <a:extLst>
              <a:ext uri="{FF2B5EF4-FFF2-40B4-BE49-F238E27FC236}">
                <a16:creationId xmlns:a16="http://schemas.microsoft.com/office/drawing/2014/main" id="{B74E196B-AC53-B446-A793-EFB48626EB95}"/>
              </a:ext>
            </a:extLst>
          </p:cNvPr>
          <p:cNvPicPr>
            <a:picLocks noChangeAspect="1"/>
          </p:cNvPicPr>
          <p:nvPr userDrawn="1"/>
        </p:nvPicPr>
        <p:blipFill>
          <a:blip r:embed="rId11"/>
          <a:stretch>
            <a:fillRect/>
          </a:stretch>
        </p:blipFill>
        <p:spPr>
          <a:xfrm>
            <a:off x="1450975" y="152400"/>
            <a:ext cx="1485900" cy="901700"/>
          </a:xfrm>
          <a:prstGeom prst="rect">
            <a:avLst/>
          </a:prstGeom>
        </p:spPr>
      </p:pic>
    </p:spTree>
    <p:extLst>
      <p:ext uri="{BB962C8B-B14F-4D97-AF65-F5344CB8AC3E}">
        <p14:creationId xmlns:p14="http://schemas.microsoft.com/office/powerpoint/2010/main" val="111394610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Lst>
  <p:hf hdr="0" ftr="0" dt="0"/>
  <p:txStyles>
    <p:titleStyle>
      <a:lvl1pPr algn="l" defTabSz="914400" rtl="0" eaLnBrk="1" latinLnBrk="0" hangingPunct="1">
        <a:lnSpc>
          <a:spcPct val="90000"/>
        </a:lnSpc>
        <a:spcBef>
          <a:spcPct val="0"/>
        </a:spcBef>
        <a:buNone/>
        <a:defRPr sz="4400" kern="1200">
          <a:solidFill>
            <a:schemeClr val="tx1">
              <a:lumMod val="50000"/>
              <a:lumOff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14">
          <p15:clr>
            <a:srgbClr val="F26B43"/>
          </p15:clr>
        </p15:guide>
        <p15:guide id="2" orient="horz" pos="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02B6AE-D0E4-C44B-A200-88748E5A8E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endParaRPr lang="en-BE"/>
          </a:p>
        </p:txBody>
      </p:sp>
      <p:sp>
        <p:nvSpPr>
          <p:cNvPr id="3" name="Text Placeholder 2">
            <a:extLst>
              <a:ext uri="{FF2B5EF4-FFF2-40B4-BE49-F238E27FC236}">
                <a16:creationId xmlns:a16="http://schemas.microsoft.com/office/drawing/2014/main" id="{ADDB1D56-B83F-A948-8AED-BEA193199B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BE"/>
          </a:p>
        </p:txBody>
      </p:sp>
      <p:sp>
        <p:nvSpPr>
          <p:cNvPr id="6" name="Slide Number Placeholder 5">
            <a:extLst>
              <a:ext uri="{FF2B5EF4-FFF2-40B4-BE49-F238E27FC236}">
                <a16:creationId xmlns:a16="http://schemas.microsoft.com/office/drawing/2014/main" id="{759EF1F7-2022-674F-A258-AA5EDE261F8E}"/>
              </a:ext>
            </a:extLst>
          </p:cNvPr>
          <p:cNvSpPr>
            <a:spLocks noGrp="1"/>
          </p:cNvSpPr>
          <p:nvPr>
            <p:ph type="sldNum" sz="quarter" idx="4"/>
          </p:nvPr>
        </p:nvSpPr>
        <p:spPr>
          <a:xfrm>
            <a:off x="8610600" y="6257758"/>
            <a:ext cx="2743200" cy="365125"/>
          </a:xfrm>
          <a:prstGeom prst="rect">
            <a:avLst/>
          </a:prstGeom>
        </p:spPr>
        <p:txBody>
          <a:bodyPr vert="horz" lIns="91440" tIns="45720" rIns="91440" bIns="45720" rtlCol="0" anchor="ctr"/>
          <a:lstStyle>
            <a:lvl1pPr algn="r">
              <a:defRPr sz="1200">
                <a:solidFill>
                  <a:schemeClr val="bg1"/>
                </a:solidFill>
              </a:defRPr>
            </a:lvl1pPr>
          </a:lstStyle>
          <a:p>
            <a:fld id="{C5740EB3-131C-D14C-BCB4-8A662C3227B4}" type="slidenum">
              <a:rPr lang="en-BE" smtClean="0"/>
              <a:pPr/>
              <a:t>‹#›</a:t>
            </a:fld>
            <a:endParaRPr lang="en-BE"/>
          </a:p>
        </p:txBody>
      </p:sp>
      <p:pic>
        <p:nvPicPr>
          <p:cNvPr id="8" name="Immagine 7" descr="Immagine che contiene testo&#10;&#10;Descrizione generata automaticamente">
            <a:extLst>
              <a:ext uri="{FF2B5EF4-FFF2-40B4-BE49-F238E27FC236}">
                <a16:creationId xmlns:a16="http://schemas.microsoft.com/office/drawing/2014/main" id="{A1DA9DE8-2E4A-40CF-8EFD-E3C00DC37F3E}"/>
              </a:ext>
            </a:extLst>
          </p:cNvPr>
          <p:cNvPicPr>
            <a:picLocks noChangeAspect="1"/>
          </p:cNvPicPr>
          <p:nvPr userDrawn="1"/>
        </p:nvPicPr>
        <p:blipFill>
          <a:blip r:embed="rId11"/>
          <a:stretch>
            <a:fillRect/>
          </a:stretch>
        </p:blipFill>
        <p:spPr>
          <a:xfrm>
            <a:off x="156412" y="6229815"/>
            <a:ext cx="2562726" cy="526119"/>
          </a:xfrm>
          <a:prstGeom prst="rect">
            <a:avLst/>
          </a:prstGeom>
        </p:spPr>
      </p:pic>
    </p:spTree>
    <p:extLst>
      <p:ext uri="{BB962C8B-B14F-4D97-AF65-F5344CB8AC3E}">
        <p14:creationId xmlns:p14="http://schemas.microsoft.com/office/powerpoint/2010/main" val="3330432209"/>
      </p:ext>
    </p:extLst>
  </p:cSld>
  <p:clrMap bg1="dk1" tx1="lt1" bg2="dk2" tx2="lt2" accent1="accent1" accent2="accent2" accent3="accent3" accent4="accent4" accent5="accent5" accent6="accent6" hlink="hlink" folHlink="folHlink"/>
  <p:sldLayoutIdLst>
    <p:sldLayoutId id="2147483669" r:id="rId1"/>
    <p:sldLayoutId id="2147483661" r:id="rId2"/>
    <p:sldLayoutId id="2147483662" r:id="rId3"/>
    <p:sldLayoutId id="2147483663" r:id="rId4"/>
    <p:sldLayoutId id="2147483664" r:id="rId5"/>
    <p:sldLayoutId id="2147483666" r:id="rId6"/>
    <p:sldLayoutId id="2147483667" r:id="rId7"/>
    <p:sldLayoutId id="2147483668" r:id="rId8"/>
    <p:sldLayoutId id="2147483670" r:id="rId9"/>
  </p:sldLayoutIdLst>
  <p:hf sldNum="0" hdr="0" ftr="0"/>
  <p:txStyles>
    <p:title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diagramLayout" Target="../diagrams/layout1.xml"/><Relationship Id="rId7" Type="http://schemas.openxmlformats.org/officeDocument/2006/relationships/image" Target="../media/image10.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3.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2.xml.rels><?xml version="1.0" encoding="UTF-8" standalone="yes"?>
<Relationships xmlns="http://schemas.openxmlformats.org/package/2006/relationships"><Relationship Id="rId8" Type="http://schemas.openxmlformats.org/officeDocument/2006/relationships/hyperlink" Target="https://www.youtube.com/channel/UCFfzjb2UuoOxFJd12AL6lyg" TargetMode="External"/><Relationship Id="rId3" Type="http://schemas.openxmlformats.org/officeDocument/2006/relationships/image" Target="../media/image26.jpeg"/><Relationship Id="rId7" Type="http://schemas.openxmlformats.org/officeDocument/2006/relationships/image" Target="../media/image28.emf"/><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hyperlink" Target="https://www.linkedin.com/company/european-railway-agency" TargetMode="External"/><Relationship Id="rId5" Type="http://schemas.openxmlformats.org/officeDocument/2006/relationships/image" Target="../media/image27.emf"/><Relationship Id="rId4" Type="http://schemas.openxmlformats.org/officeDocument/2006/relationships/hyperlink" Target="https://twitter.com/ERA_railways" TargetMode="External"/><Relationship Id="rId9" Type="http://schemas.openxmlformats.org/officeDocument/2006/relationships/image" Target="../media/image29.emf"/></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Layout" Target="../diagrams/layout4.xml"/><Relationship Id="rId7" Type="http://schemas.openxmlformats.org/officeDocument/2006/relationships/image" Target="../media/image17.png"/><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37549" y="2235200"/>
            <a:ext cx="9096637" cy="2387600"/>
          </a:xfrm>
        </p:spPr>
        <p:txBody>
          <a:bodyPr>
            <a:normAutofit fontScale="90000"/>
          </a:bodyPr>
          <a:lstStyle/>
          <a:p>
            <a:pPr algn="l"/>
            <a:r>
              <a:rPr lang="en-US" b="0" i="0">
                <a:solidFill>
                  <a:schemeClr val="bg1"/>
                </a:solidFill>
                <a:effectLst/>
                <a:latin typeface="system-ui"/>
              </a:rPr>
              <a:t>Feedback on the ERA-ENISA Conference on Railway Cybersecurity</a:t>
            </a:r>
            <a:br>
              <a:rPr lang="en-US" b="0" i="0">
                <a:solidFill>
                  <a:schemeClr val="bg1"/>
                </a:solidFill>
                <a:effectLst/>
                <a:latin typeface="system-ui"/>
              </a:rPr>
            </a:br>
            <a:r>
              <a:rPr lang="en-US" sz="4400" b="0" i="0">
                <a:solidFill>
                  <a:schemeClr val="bg1"/>
                </a:solidFill>
                <a:effectLst/>
                <a:latin typeface="system-ui"/>
              </a:rPr>
              <a:t>16 February 2023</a:t>
            </a:r>
          </a:p>
        </p:txBody>
      </p:sp>
      <p:pic>
        <p:nvPicPr>
          <p:cNvPr id="3" name="Picture 3">
            <a:extLst>
              <a:ext uri="{FF2B5EF4-FFF2-40B4-BE49-F238E27FC236}">
                <a16:creationId xmlns:a16="http://schemas.microsoft.com/office/drawing/2014/main" id="{92B196CB-78A1-6AC7-0B76-A45BCD351A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65" y="-825"/>
            <a:ext cx="12194930" cy="6859647"/>
          </a:xfrm>
          <a:prstGeom prst="rect">
            <a:avLst/>
          </a:prstGeom>
        </p:spPr>
      </p:pic>
      <p:sp>
        <p:nvSpPr>
          <p:cNvPr id="11" name="TextBox 10">
            <a:extLst>
              <a:ext uri="{FF2B5EF4-FFF2-40B4-BE49-F238E27FC236}">
                <a16:creationId xmlns:a16="http://schemas.microsoft.com/office/drawing/2014/main" id="{CAFCA108-0406-43EF-ACB0-DF0AFCB1C21D}"/>
              </a:ext>
            </a:extLst>
          </p:cNvPr>
          <p:cNvSpPr txBox="1"/>
          <p:nvPr/>
        </p:nvSpPr>
        <p:spPr>
          <a:xfrm>
            <a:off x="1571364" y="3428998"/>
            <a:ext cx="9049272" cy="861774"/>
          </a:xfrm>
          <a:prstGeom prst="rect">
            <a:avLst/>
          </a:prstGeom>
          <a:solidFill>
            <a:schemeClr val="bg2">
              <a:alpha val="53000"/>
            </a:schemeClr>
          </a:solidFill>
        </p:spPr>
        <p:txBody>
          <a:bodyPr wrap="none" rtlCol="0">
            <a:spAutoFit/>
          </a:bodyPr>
          <a:lstStyle/>
          <a:p>
            <a:r>
              <a:rPr lang="en-GB" sz="5000" b="1" i="1" kern="0"/>
              <a:t>Welcome! Webinar to start soon!</a:t>
            </a:r>
          </a:p>
        </p:txBody>
      </p:sp>
    </p:spTree>
    <p:extLst>
      <p:ext uri="{BB962C8B-B14F-4D97-AF65-F5344CB8AC3E}">
        <p14:creationId xmlns:p14="http://schemas.microsoft.com/office/powerpoint/2010/main" val="3224280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1DA11-2414-D9FF-C286-277B0231384F}"/>
              </a:ext>
            </a:extLst>
          </p:cNvPr>
          <p:cNvSpPr>
            <a:spLocks noGrp="1"/>
          </p:cNvSpPr>
          <p:nvPr>
            <p:ph type="title"/>
          </p:nvPr>
        </p:nvSpPr>
        <p:spPr>
          <a:xfrm>
            <a:off x="7206167" y="187818"/>
            <a:ext cx="4860133" cy="1273215"/>
          </a:xfrm>
        </p:spPr>
        <p:txBody>
          <a:bodyPr vert="horz" lIns="91440" tIns="45720" rIns="91440" bIns="45720" rtlCol="0" anchor="ctr">
            <a:noAutofit/>
          </a:bodyPr>
          <a:lstStyle/>
          <a:p>
            <a:pPr algn="r"/>
            <a:r>
              <a:rPr lang="en-US" sz="4000">
                <a:solidFill>
                  <a:schemeClr val="bg1"/>
                </a:solidFill>
                <a:latin typeface="Calibri"/>
                <a:cs typeface="Calibri"/>
              </a:rPr>
              <a:t>ERA on track towards more diversity</a:t>
            </a:r>
            <a:endParaRPr lang="en-US" sz="4000">
              <a:solidFill>
                <a:schemeClr val="bg1"/>
              </a:solidFill>
              <a:cs typeface="Calibri Light"/>
            </a:endParaRPr>
          </a:p>
        </p:txBody>
      </p:sp>
      <p:sp>
        <p:nvSpPr>
          <p:cNvPr id="17" name="TextBox 16">
            <a:extLst>
              <a:ext uri="{FF2B5EF4-FFF2-40B4-BE49-F238E27FC236}">
                <a16:creationId xmlns:a16="http://schemas.microsoft.com/office/drawing/2014/main" id="{6E0D7112-4851-DBB1-410A-D4810608F4DC}"/>
              </a:ext>
            </a:extLst>
          </p:cNvPr>
          <p:cNvSpPr txBox="1"/>
          <p:nvPr/>
        </p:nvSpPr>
        <p:spPr>
          <a:xfrm>
            <a:off x="158235" y="1341438"/>
            <a:ext cx="11887199" cy="53245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a:buChar char="•"/>
            </a:pPr>
            <a:r>
              <a:rPr lang="en-US" sz="2000" b="1">
                <a:solidFill>
                  <a:srgbClr val="FFFF00"/>
                </a:solidFill>
                <a:cs typeface="Calibri"/>
              </a:rPr>
              <a:t>BETTER TOGETHER PROJECT</a:t>
            </a:r>
            <a:r>
              <a:rPr lang="en-US" sz="2000">
                <a:solidFill>
                  <a:schemeClr val="bg1"/>
                </a:solidFill>
                <a:cs typeface="Calibri"/>
              </a:rPr>
              <a:t> – Transforming our </a:t>
            </a:r>
            <a:r>
              <a:rPr lang="en-US" sz="2000" err="1">
                <a:solidFill>
                  <a:schemeClr val="bg1"/>
                </a:solidFill>
                <a:cs typeface="Calibri"/>
              </a:rPr>
              <a:t>organisational</a:t>
            </a:r>
            <a:r>
              <a:rPr lang="en-US" sz="2000">
                <a:solidFill>
                  <a:schemeClr val="bg1"/>
                </a:solidFill>
                <a:cs typeface="Calibri"/>
              </a:rPr>
              <a:t> culture</a:t>
            </a:r>
            <a:endParaRPr lang="en-US">
              <a:solidFill>
                <a:schemeClr val="bg1"/>
              </a:solidFill>
              <a:cs typeface="Calibri"/>
            </a:endParaRPr>
          </a:p>
          <a:p>
            <a:pPr marL="800100" lvl="1" indent="-342900">
              <a:buFont typeface="Arial"/>
              <a:buChar char="•"/>
            </a:pPr>
            <a:r>
              <a:rPr lang="en-US" sz="2000">
                <a:solidFill>
                  <a:schemeClr val="bg1"/>
                </a:solidFill>
                <a:cs typeface="Calibri"/>
              </a:rPr>
              <a:t>Core principles: we look for excellence in our diversity.  We value the diversity of our team and encourage a supportive cooperation among all staff without distinction</a:t>
            </a:r>
            <a:endParaRPr lang="en-US">
              <a:solidFill>
                <a:schemeClr val="bg1"/>
              </a:solidFill>
              <a:cs typeface="Calibri"/>
            </a:endParaRPr>
          </a:p>
          <a:p>
            <a:pPr marL="800100" lvl="1" indent="-342900">
              <a:buFont typeface="Arial"/>
              <a:buChar char="•"/>
            </a:pPr>
            <a:r>
              <a:rPr lang="en-US" sz="2000">
                <a:solidFill>
                  <a:schemeClr val="bg1"/>
                </a:solidFill>
                <a:cs typeface="Calibri"/>
              </a:rPr>
              <a:t>Developing Career perspective and mentoring</a:t>
            </a:r>
            <a:endParaRPr lang="en-US">
              <a:solidFill>
                <a:schemeClr val="bg1"/>
              </a:solidFill>
              <a:cs typeface="Calibri"/>
            </a:endParaRPr>
          </a:p>
          <a:p>
            <a:pPr marL="800100" lvl="1" indent="-342900">
              <a:buFont typeface="Arial"/>
              <a:buChar char="•"/>
            </a:pPr>
            <a:endParaRPr lang="en-US" sz="2000">
              <a:solidFill>
                <a:schemeClr val="bg1"/>
              </a:solidFill>
              <a:latin typeface="Calibri"/>
              <a:cs typeface="Calibri"/>
            </a:endParaRPr>
          </a:p>
          <a:p>
            <a:pPr marL="342900" indent="-342900">
              <a:buFont typeface="Arial,Sans-Serif"/>
              <a:buChar char="•"/>
            </a:pPr>
            <a:r>
              <a:rPr lang="en-US" sz="2000" b="1">
                <a:solidFill>
                  <a:srgbClr val="FFFF00"/>
                </a:solidFill>
                <a:cs typeface="Calibri"/>
              </a:rPr>
              <a:t>ERA ACADEMY</a:t>
            </a:r>
            <a:endParaRPr lang="en-US" sz="2000">
              <a:solidFill>
                <a:srgbClr val="FFFF00"/>
              </a:solidFill>
              <a:cs typeface="Calibri"/>
            </a:endParaRPr>
          </a:p>
          <a:p>
            <a:pPr marL="800100" lvl="1" indent="-342900">
              <a:buFont typeface="Arial,Sans-Serif"/>
              <a:buChar char="•"/>
            </a:pPr>
            <a:r>
              <a:rPr lang="en-US" sz="2000">
                <a:solidFill>
                  <a:schemeClr val="bg1"/>
                </a:solidFill>
                <a:cs typeface="Calibri"/>
              </a:rPr>
              <a:t>Knowledge and capacity building</a:t>
            </a:r>
          </a:p>
          <a:p>
            <a:pPr marL="800100" lvl="1" indent="-342900">
              <a:buFont typeface="Arial,Sans-Serif"/>
              <a:buChar char="•"/>
            </a:pPr>
            <a:r>
              <a:rPr lang="en-US" sz="2000">
                <a:solidFill>
                  <a:schemeClr val="bg1"/>
                </a:solidFill>
                <a:cs typeface="Calibri"/>
              </a:rPr>
              <a:t>Balanced (technical) representation of ERA during events and webinars</a:t>
            </a:r>
            <a:endParaRPr lang="en-US" b="1">
              <a:solidFill>
                <a:schemeClr val="bg1"/>
              </a:solidFill>
              <a:cs typeface="Calibri"/>
            </a:endParaRPr>
          </a:p>
          <a:p>
            <a:pPr marL="800100" lvl="1" indent="-342900">
              <a:buFont typeface="Arial,Sans-Serif"/>
              <a:buChar char="•"/>
            </a:pPr>
            <a:endParaRPr lang="en-US" sz="2000" b="1">
              <a:solidFill>
                <a:srgbClr val="FFFF00"/>
              </a:solidFill>
              <a:cs typeface="Calibri"/>
            </a:endParaRPr>
          </a:p>
          <a:p>
            <a:pPr marL="342900" indent="-342900">
              <a:buFont typeface="Arial,Sans-Serif"/>
              <a:buChar char="•"/>
            </a:pPr>
            <a:r>
              <a:rPr lang="en-US" sz="2000" b="1">
                <a:solidFill>
                  <a:srgbClr val="FFFF00"/>
                </a:solidFill>
                <a:cs typeface="Calibri"/>
              </a:rPr>
              <a:t>WOMEN IN TRANSPORT PROJECT</a:t>
            </a:r>
            <a:endParaRPr lang="en-US" b="1">
              <a:solidFill>
                <a:srgbClr val="FFFF00"/>
              </a:solidFill>
              <a:cs typeface="Calibri"/>
            </a:endParaRPr>
          </a:p>
          <a:p>
            <a:pPr marL="800100" lvl="1" indent="-342900">
              <a:buFont typeface="Arial"/>
              <a:buChar char="•"/>
            </a:pPr>
            <a:r>
              <a:rPr lang="en-US" sz="2000" err="1">
                <a:solidFill>
                  <a:schemeClr val="bg1"/>
                </a:solidFill>
                <a:cs typeface="Calibri"/>
              </a:rPr>
              <a:t>Speednetworking</a:t>
            </a:r>
            <a:r>
              <a:rPr lang="en-US" sz="2000">
                <a:solidFill>
                  <a:schemeClr val="bg1"/>
                </a:solidFill>
                <a:cs typeface="Calibri"/>
              </a:rPr>
              <a:t> event to foster Women in Transport - </a:t>
            </a:r>
            <a:endParaRPr lang="en-US">
              <a:solidFill>
                <a:schemeClr val="bg1"/>
              </a:solidFill>
              <a:latin typeface="Calibri"/>
              <a:cs typeface="Calibri"/>
            </a:endParaRPr>
          </a:p>
          <a:p>
            <a:pPr lvl="1"/>
            <a:r>
              <a:rPr lang="en-US" sz="2000">
                <a:solidFill>
                  <a:schemeClr val="bg1"/>
                </a:solidFill>
                <a:latin typeface="Calibri"/>
                <a:cs typeface="Calibri"/>
              </a:rPr>
              <a:t>EU</a:t>
            </a:r>
            <a:r>
              <a:rPr lang="en-US" sz="2000">
                <a:solidFill>
                  <a:schemeClr val="bg1"/>
                </a:solidFill>
                <a:cs typeface="Calibri"/>
              </a:rPr>
              <a:t> Agencies Network Certificate of Excellence</a:t>
            </a:r>
            <a:endParaRPr lang="en-US">
              <a:solidFill>
                <a:schemeClr val="bg1"/>
              </a:solidFill>
              <a:cs typeface="Calibri"/>
            </a:endParaRPr>
          </a:p>
          <a:p>
            <a:endParaRPr lang="en-US" sz="2000">
              <a:solidFill>
                <a:srgbClr val="FFFF00"/>
              </a:solidFill>
              <a:latin typeface="Arial"/>
              <a:cs typeface="Arial"/>
            </a:endParaRPr>
          </a:p>
          <a:p>
            <a:pPr marL="342900" indent="-342900">
              <a:buFont typeface="Arial"/>
              <a:buChar char="•"/>
            </a:pPr>
            <a:endParaRPr lang="en-US" sz="2000" b="1">
              <a:solidFill>
                <a:srgbClr val="FFFF00"/>
              </a:solidFill>
              <a:cs typeface="Calibri"/>
            </a:endParaRPr>
          </a:p>
          <a:p>
            <a:endParaRPr lang="en-US" sz="2000" b="1">
              <a:solidFill>
                <a:schemeClr val="bg1"/>
              </a:solidFill>
              <a:latin typeface="Arial"/>
              <a:cs typeface="Arial"/>
            </a:endParaRPr>
          </a:p>
          <a:p>
            <a:endParaRPr lang="en-US" sz="2000">
              <a:solidFill>
                <a:schemeClr val="bg1"/>
              </a:solidFill>
              <a:cs typeface="Calibri"/>
            </a:endParaRPr>
          </a:p>
          <a:p>
            <a:endParaRPr lang="en-US" sz="2000">
              <a:solidFill>
                <a:schemeClr val="bg1"/>
              </a:solidFill>
              <a:cs typeface="Calibri"/>
            </a:endParaRPr>
          </a:p>
        </p:txBody>
      </p:sp>
      <p:pic>
        <p:nvPicPr>
          <p:cNvPr id="3" name="Picture 3" descr="Text&#10;&#10;Description automatically generated">
            <a:extLst>
              <a:ext uri="{FF2B5EF4-FFF2-40B4-BE49-F238E27FC236}">
                <a16:creationId xmlns:a16="http://schemas.microsoft.com/office/drawing/2014/main" id="{C809B517-4C0E-CD4C-6159-F3E1D3E0A996}"/>
              </a:ext>
            </a:extLst>
          </p:cNvPr>
          <p:cNvPicPr>
            <a:picLocks noChangeAspect="1"/>
          </p:cNvPicPr>
          <p:nvPr/>
        </p:nvPicPr>
        <p:blipFill>
          <a:blip r:embed="rId2"/>
          <a:stretch>
            <a:fillRect/>
          </a:stretch>
        </p:blipFill>
        <p:spPr>
          <a:xfrm>
            <a:off x="7048030" y="3956529"/>
            <a:ext cx="4963347" cy="2783166"/>
          </a:xfrm>
          <a:prstGeom prst="rect">
            <a:avLst/>
          </a:prstGeom>
        </p:spPr>
      </p:pic>
    </p:spTree>
    <p:extLst>
      <p:ext uri="{BB962C8B-B14F-4D97-AF65-F5344CB8AC3E}">
        <p14:creationId xmlns:p14="http://schemas.microsoft.com/office/powerpoint/2010/main" val="2119553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0B72F-1C9F-AC1F-3524-DC84926030C8}"/>
              </a:ext>
            </a:extLst>
          </p:cNvPr>
          <p:cNvSpPr>
            <a:spLocks noGrp="1"/>
          </p:cNvSpPr>
          <p:nvPr>
            <p:ph type="ctrTitle"/>
          </p:nvPr>
        </p:nvSpPr>
        <p:spPr>
          <a:xfrm>
            <a:off x="369983" y="1419751"/>
            <a:ext cx="8240617" cy="1735504"/>
          </a:xfrm>
        </p:spPr>
        <p:txBody>
          <a:bodyPr vert="horz" lIns="91440" tIns="45720" rIns="91440" bIns="45720" rtlCol="0" anchor="t">
            <a:normAutofit fontScale="90000"/>
          </a:bodyPr>
          <a:lstStyle/>
          <a:p>
            <a:pPr algn="l"/>
            <a:r>
              <a:rPr lang="en-US">
                <a:solidFill>
                  <a:schemeClr val="bg1"/>
                </a:solidFill>
              </a:rPr>
              <a:t>ERA’s Participatory Gender Audit</a:t>
            </a:r>
            <a:endParaRPr lang="en-GB">
              <a:solidFill>
                <a:schemeClr val="bg1"/>
              </a:solidFill>
            </a:endParaRPr>
          </a:p>
        </p:txBody>
      </p:sp>
      <p:sp>
        <p:nvSpPr>
          <p:cNvPr id="3" name="Subtitle 2">
            <a:extLst>
              <a:ext uri="{FF2B5EF4-FFF2-40B4-BE49-F238E27FC236}">
                <a16:creationId xmlns:a16="http://schemas.microsoft.com/office/drawing/2014/main" id="{15BB2FE8-9847-4BB4-7F07-A50CF75BA000}"/>
              </a:ext>
            </a:extLst>
          </p:cNvPr>
          <p:cNvSpPr>
            <a:spLocks noGrp="1"/>
          </p:cNvSpPr>
          <p:nvPr>
            <p:ph type="subTitle" idx="1"/>
          </p:nvPr>
        </p:nvSpPr>
        <p:spPr>
          <a:xfrm>
            <a:off x="370301" y="3016043"/>
            <a:ext cx="5956789" cy="1655762"/>
          </a:xfrm>
        </p:spPr>
        <p:txBody>
          <a:bodyPr vert="horz" lIns="91440" tIns="45720" rIns="91440" bIns="45720" rtlCol="0" anchor="t">
            <a:normAutofit/>
          </a:bodyPr>
          <a:lstStyle/>
          <a:p>
            <a:pPr algn="l"/>
            <a:r>
              <a:rPr lang="fr-BE">
                <a:solidFill>
                  <a:schemeClr val="bg1"/>
                </a:solidFill>
              </a:rPr>
              <a:t>Nathalie </a:t>
            </a:r>
            <a:r>
              <a:rPr lang="fr-BE" err="1">
                <a:solidFill>
                  <a:schemeClr val="bg1"/>
                </a:solidFill>
              </a:rPr>
              <a:t>Namavar</a:t>
            </a:r>
            <a:endParaRPr lang="en-GB">
              <a:solidFill>
                <a:schemeClr val="bg1"/>
              </a:solidFill>
            </a:endParaRPr>
          </a:p>
        </p:txBody>
      </p:sp>
      <p:pic>
        <p:nvPicPr>
          <p:cNvPr id="8" name="Picture Placeholder 7" descr="A picture containing person, indoor, silhouette&#10;&#10;Description automatically generated">
            <a:extLst>
              <a:ext uri="{FF2B5EF4-FFF2-40B4-BE49-F238E27FC236}">
                <a16:creationId xmlns:a16="http://schemas.microsoft.com/office/drawing/2014/main" id="{C4515A18-A01A-537E-3D82-38AF1C3BAC7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8423" r="28423"/>
          <a:stretch>
            <a:fillRect/>
          </a:stretch>
        </p:blipFill>
        <p:spPr>
          <a:xfrm>
            <a:off x="7756525" y="0"/>
            <a:ext cx="4435475" cy="6858000"/>
          </a:xfrm>
        </p:spPr>
      </p:pic>
      <p:pic>
        <p:nvPicPr>
          <p:cNvPr id="5" name="Picture 5" descr="Logo&#10;&#10;Description automatically generated">
            <a:extLst>
              <a:ext uri="{FF2B5EF4-FFF2-40B4-BE49-F238E27FC236}">
                <a16:creationId xmlns:a16="http://schemas.microsoft.com/office/drawing/2014/main" id="{E7ECF11B-BF93-5D74-2D82-357B9935ACDF}"/>
              </a:ext>
            </a:extLst>
          </p:cNvPr>
          <p:cNvPicPr>
            <a:picLocks noChangeAspect="1"/>
          </p:cNvPicPr>
          <p:nvPr/>
        </p:nvPicPr>
        <p:blipFill>
          <a:blip r:embed="rId3"/>
          <a:stretch>
            <a:fillRect/>
          </a:stretch>
        </p:blipFill>
        <p:spPr>
          <a:xfrm>
            <a:off x="2326506" y="3493233"/>
            <a:ext cx="3043603" cy="3112840"/>
          </a:xfrm>
          <a:prstGeom prst="rect">
            <a:avLst/>
          </a:prstGeom>
        </p:spPr>
      </p:pic>
    </p:spTree>
    <p:extLst>
      <p:ext uri="{BB962C8B-B14F-4D97-AF65-F5344CB8AC3E}">
        <p14:creationId xmlns:p14="http://schemas.microsoft.com/office/powerpoint/2010/main" val="27432922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68215-B9B2-4445-AFC3-C0974D3B7367}"/>
              </a:ext>
            </a:extLst>
          </p:cNvPr>
          <p:cNvSpPr>
            <a:spLocks noGrp="1"/>
          </p:cNvSpPr>
          <p:nvPr>
            <p:ph type="title"/>
          </p:nvPr>
        </p:nvSpPr>
        <p:spPr>
          <a:xfrm>
            <a:off x="3406467" y="8711"/>
            <a:ext cx="8601918" cy="1308933"/>
          </a:xfrm>
        </p:spPr>
        <p:txBody>
          <a:bodyPr>
            <a:normAutofit/>
          </a:bodyPr>
          <a:lstStyle/>
          <a:p>
            <a:pPr algn="r"/>
            <a:r>
              <a:rPr lang="fr-BE" sz="4000" err="1">
                <a:solidFill>
                  <a:schemeClr val="bg1"/>
                </a:solidFill>
              </a:rPr>
              <a:t>Participatory</a:t>
            </a:r>
            <a:r>
              <a:rPr lang="fr-BE" sz="4000">
                <a:solidFill>
                  <a:schemeClr val="bg1"/>
                </a:solidFill>
              </a:rPr>
              <a:t> </a:t>
            </a:r>
            <a:r>
              <a:rPr lang="fr-BE" sz="4000" err="1">
                <a:solidFill>
                  <a:schemeClr val="bg1"/>
                </a:solidFill>
              </a:rPr>
              <a:t>Gender</a:t>
            </a:r>
            <a:r>
              <a:rPr lang="fr-BE" sz="4000">
                <a:solidFill>
                  <a:schemeClr val="bg1"/>
                </a:solidFill>
              </a:rPr>
              <a:t> Audit  - Objectives</a:t>
            </a:r>
            <a:endParaRPr lang="en-GB" sz="4000">
              <a:solidFill>
                <a:schemeClr val="bg1"/>
              </a:solidFill>
            </a:endParaRPr>
          </a:p>
        </p:txBody>
      </p:sp>
      <p:sp>
        <p:nvSpPr>
          <p:cNvPr id="3" name="Content Placeholder 2">
            <a:extLst>
              <a:ext uri="{FF2B5EF4-FFF2-40B4-BE49-F238E27FC236}">
                <a16:creationId xmlns:a16="http://schemas.microsoft.com/office/drawing/2014/main" id="{EBB9C707-37EF-4EE2-B1FE-1ED6ECA825C3}"/>
              </a:ext>
            </a:extLst>
          </p:cNvPr>
          <p:cNvSpPr>
            <a:spLocks noGrp="1"/>
          </p:cNvSpPr>
          <p:nvPr>
            <p:ph idx="4294967295"/>
          </p:nvPr>
        </p:nvSpPr>
        <p:spPr>
          <a:xfrm>
            <a:off x="143219" y="1682405"/>
            <a:ext cx="11865166" cy="4751445"/>
          </a:xfrm>
        </p:spPr>
        <p:txBody>
          <a:bodyPr>
            <a:normAutofit fontScale="92500" lnSpcReduction="10000"/>
          </a:bodyPr>
          <a:lstStyle/>
          <a:p>
            <a:pPr algn="just" rtl="0" fontAlgn="base">
              <a:buFont typeface="Arial" panose="020B0604020202020204" pitchFamily="34" charset="0"/>
              <a:buChar char="•"/>
            </a:pPr>
            <a:r>
              <a:rPr lang="en-US" b="1" i="0">
                <a:solidFill>
                  <a:schemeClr val="bg1"/>
                </a:solidFill>
                <a:effectLst/>
                <a:latin typeface="Calibri" panose="020F0502020204030204" pitchFamily="34" charset="0"/>
              </a:rPr>
              <a:t>Assessing and checking the </a:t>
            </a:r>
            <a:r>
              <a:rPr lang="en-US" b="1" i="0" err="1">
                <a:solidFill>
                  <a:schemeClr val="bg1"/>
                </a:solidFill>
                <a:effectLst/>
                <a:latin typeface="Calibri" panose="020F0502020204030204" pitchFamily="34" charset="0"/>
              </a:rPr>
              <a:t>institutionalisation</a:t>
            </a:r>
            <a:r>
              <a:rPr lang="en-US" b="1" i="0">
                <a:solidFill>
                  <a:schemeClr val="bg1"/>
                </a:solidFill>
                <a:effectLst/>
                <a:latin typeface="Calibri" panose="020F0502020204030204" pitchFamily="34" charset="0"/>
              </a:rPr>
              <a:t> of gender equality</a:t>
            </a:r>
            <a:r>
              <a:rPr lang="en-US" b="0" i="0">
                <a:solidFill>
                  <a:schemeClr val="bg1"/>
                </a:solidFill>
                <a:effectLst/>
                <a:latin typeface="Calibri" panose="020F0502020204030204" pitchFamily="34" charset="0"/>
              </a:rPr>
              <a:t> into our organisation.</a:t>
            </a:r>
          </a:p>
          <a:p>
            <a:pPr algn="just" rtl="0" fontAlgn="base">
              <a:buFont typeface="Arial" panose="020B0604020202020204" pitchFamily="34" charset="0"/>
              <a:buChar char="•"/>
            </a:pPr>
            <a:r>
              <a:rPr lang="en-US" b="1" i="0">
                <a:solidFill>
                  <a:schemeClr val="bg1"/>
                </a:solidFill>
                <a:effectLst/>
                <a:latin typeface="Calibri" panose="020F0502020204030204" pitchFamily="34" charset="0"/>
              </a:rPr>
              <a:t>Identifying and understanding gender patterns </a:t>
            </a:r>
            <a:r>
              <a:rPr lang="en-US" b="0" i="0">
                <a:solidFill>
                  <a:schemeClr val="bg1"/>
                </a:solidFill>
                <a:effectLst/>
                <a:latin typeface="Calibri" panose="020F0502020204030204" pitchFamily="34" charset="0"/>
              </a:rPr>
              <a:t>within their structures, processes, </a:t>
            </a:r>
            <a:r>
              <a:rPr lang="en-US" b="0" i="0" err="1">
                <a:solidFill>
                  <a:schemeClr val="bg1"/>
                </a:solidFill>
                <a:effectLst/>
                <a:latin typeface="Calibri" panose="020F0502020204030204" pitchFamily="34" charset="0"/>
              </a:rPr>
              <a:t>organisational</a:t>
            </a:r>
            <a:r>
              <a:rPr lang="en-US" b="0" i="0">
                <a:solidFill>
                  <a:schemeClr val="bg1"/>
                </a:solidFill>
                <a:effectLst/>
                <a:latin typeface="Calibri" panose="020F0502020204030204" pitchFamily="34" charset="0"/>
              </a:rPr>
              <a:t> culture and management of human resources, and in the design and delivery of policies and services.  </a:t>
            </a:r>
          </a:p>
          <a:p>
            <a:pPr algn="just" rtl="0" fontAlgn="base">
              <a:buFont typeface="Arial" panose="020B0604020202020204" pitchFamily="34" charset="0"/>
              <a:buChar char="•"/>
            </a:pPr>
            <a:r>
              <a:rPr lang="en-US" b="1" i="0">
                <a:solidFill>
                  <a:schemeClr val="bg1"/>
                </a:solidFill>
                <a:effectLst/>
                <a:latin typeface="Calibri" panose="020F0502020204030204" pitchFamily="34" charset="0"/>
              </a:rPr>
              <a:t>Assessing</a:t>
            </a:r>
            <a:r>
              <a:rPr lang="en-US" b="0" i="0">
                <a:solidFill>
                  <a:schemeClr val="bg1"/>
                </a:solidFill>
                <a:effectLst/>
                <a:latin typeface="Calibri" panose="020F0502020204030204" pitchFamily="34" charset="0"/>
              </a:rPr>
              <a:t> the </a:t>
            </a:r>
            <a:r>
              <a:rPr lang="en-US" b="1" i="0">
                <a:solidFill>
                  <a:schemeClr val="bg1"/>
                </a:solidFill>
                <a:effectLst/>
                <a:latin typeface="Calibri" panose="020F0502020204030204" pitchFamily="34" charset="0"/>
              </a:rPr>
              <a:t>impact </a:t>
            </a:r>
            <a:r>
              <a:rPr lang="en-US" b="0" i="0">
                <a:solidFill>
                  <a:schemeClr val="bg1"/>
                </a:solidFill>
                <a:effectLst/>
                <a:latin typeface="Calibri" panose="020F0502020204030204" pitchFamily="34" charset="0"/>
              </a:rPr>
              <a:t>of </a:t>
            </a:r>
            <a:r>
              <a:rPr lang="en-US" b="0" i="0" err="1">
                <a:solidFill>
                  <a:schemeClr val="bg1"/>
                </a:solidFill>
                <a:effectLst/>
                <a:latin typeface="Calibri" panose="020F0502020204030204" pitchFamily="34" charset="0"/>
              </a:rPr>
              <a:t>organisational</a:t>
            </a:r>
            <a:r>
              <a:rPr lang="en-US" b="0" i="0">
                <a:solidFill>
                  <a:schemeClr val="bg1"/>
                </a:solidFill>
                <a:effectLst/>
                <a:latin typeface="Calibri" panose="020F0502020204030204" pitchFamily="34" charset="0"/>
              </a:rPr>
              <a:t> performance and its </a:t>
            </a:r>
            <a:r>
              <a:rPr lang="en-US" b="1" i="0">
                <a:solidFill>
                  <a:schemeClr val="bg1"/>
                </a:solidFill>
                <a:effectLst/>
                <a:latin typeface="Calibri" panose="020F0502020204030204" pitchFamily="34" charset="0"/>
              </a:rPr>
              <a:t>management on gender equality</a:t>
            </a:r>
            <a:r>
              <a:rPr lang="en-US" b="0" i="0">
                <a:solidFill>
                  <a:schemeClr val="bg1"/>
                </a:solidFill>
                <a:effectLst/>
                <a:latin typeface="Calibri" panose="020F0502020204030204" pitchFamily="34" charset="0"/>
              </a:rPr>
              <a:t> within the </a:t>
            </a:r>
            <a:r>
              <a:rPr lang="en-US" b="0" i="0" err="1">
                <a:solidFill>
                  <a:schemeClr val="bg1"/>
                </a:solidFill>
                <a:effectLst/>
                <a:latin typeface="Calibri" panose="020F0502020204030204" pitchFamily="34" charset="0"/>
              </a:rPr>
              <a:t>organisation</a:t>
            </a:r>
            <a:r>
              <a:rPr lang="en-US" b="0" i="0">
                <a:solidFill>
                  <a:schemeClr val="bg1"/>
                </a:solidFill>
                <a:effectLst/>
                <a:latin typeface="Calibri" panose="020F0502020204030204" pitchFamily="34" charset="0"/>
              </a:rPr>
              <a:t>.  </a:t>
            </a:r>
          </a:p>
          <a:p>
            <a:pPr marL="0" indent="0" algn="just" rtl="0" fontAlgn="base">
              <a:buNone/>
            </a:pPr>
            <a:endParaRPr lang="en-US" b="0" i="0">
              <a:solidFill>
                <a:schemeClr val="bg1"/>
              </a:solidFill>
              <a:effectLst/>
              <a:latin typeface="Calibri" panose="020F0502020204030204" pitchFamily="34" charset="0"/>
            </a:endParaRPr>
          </a:p>
          <a:p>
            <a:pPr marL="0" indent="0" algn="just" rtl="0" fontAlgn="base">
              <a:buNone/>
            </a:pPr>
            <a:r>
              <a:rPr lang="en-US" b="0" i="0">
                <a:solidFill>
                  <a:schemeClr val="bg1"/>
                </a:solidFill>
                <a:effectLst/>
                <a:latin typeface="Calibri" panose="020F0502020204030204" pitchFamily="34" charset="0"/>
              </a:rPr>
              <a:t>Gender audits </a:t>
            </a:r>
            <a:r>
              <a:rPr lang="en-US" b="1" i="0">
                <a:solidFill>
                  <a:schemeClr val="bg1"/>
                </a:solidFill>
                <a:effectLst/>
                <a:latin typeface="Calibri" panose="020F0502020204030204" pitchFamily="34" charset="0"/>
              </a:rPr>
              <a:t>establish a baseline</a:t>
            </a:r>
            <a:r>
              <a:rPr lang="en-US" b="0" i="0">
                <a:solidFill>
                  <a:schemeClr val="bg1"/>
                </a:solidFill>
                <a:effectLst/>
                <a:latin typeface="Calibri" panose="020F0502020204030204" pitchFamily="34" charset="0"/>
              </a:rPr>
              <a:t> against which progress can be measured: </a:t>
            </a:r>
          </a:p>
          <a:p>
            <a:pPr lvl="1" algn="just" fontAlgn="base">
              <a:buFont typeface="Arial" panose="020B0604020202020204" pitchFamily="34" charset="0"/>
              <a:buChar char="•"/>
            </a:pPr>
            <a:r>
              <a:rPr lang="en-US" b="0" i="0">
                <a:solidFill>
                  <a:schemeClr val="bg1"/>
                </a:solidFill>
                <a:effectLst/>
                <a:latin typeface="Calibri" panose="020F0502020204030204" pitchFamily="34" charset="0"/>
              </a:rPr>
              <a:t>Identifying critical gender gaps and challenges. </a:t>
            </a:r>
          </a:p>
          <a:p>
            <a:pPr lvl="1" algn="just" fontAlgn="base">
              <a:buFont typeface="Arial" panose="020B0604020202020204" pitchFamily="34" charset="0"/>
              <a:buChar char="•"/>
            </a:pPr>
            <a:r>
              <a:rPr lang="en-US" b="0" i="0">
                <a:solidFill>
                  <a:schemeClr val="bg1"/>
                </a:solidFill>
                <a:effectLst/>
                <a:latin typeface="Calibri" panose="020F0502020204030204" pitchFamily="34" charset="0"/>
              </a:rPr>
              <a:t>Highlighting and sharing among employees good practices within ERA on gender equality promotion and gender mainstreaming. </a:t>
            </a:r>
          </a:p>
          <a:p>
            <a:pPr lvl="1" algn="just" fontAlgn="base">
              <a:buFont typeface="Arial" panose="020B0604020202020204" pitchFamily="34" charset="0"/>
              <a:buChar char="•"/>
            </a:pPr>
            <a:r>
              <a:rPr lang="en-US" b="0" i="0">
                <a:solidFill>
                  <a:schemeClr val="bg1"/>
                </a:solidFill>
                <a:effectLst/>
                <a:latin typeface="Calibri" panose="020F0502020204030204" pitchFamily="34" charset="0"/>
              </a:rPr>
              <a:t>Making recommendations for improvements and innovative solutions. </a:t>
            </a:r>
          </a:p>
          <a:p>
            <a:pPr marL="0" indent="0">
              <a:buNone/>
            </a:pPr>
            <a:endParaRPr lang="en-GB">
              <a:solidFill>
                <a:schemeClr val="bg1"/>
              </a:solidFill>
            </a:endParaRPr>
          </a:p>
        </p:txBody>
      </p:sp>
    </p:spTree>
    <p:extLst>
      <p:ext uri="{BB962C8B-B14F-4D97-AF65-F5344CB8AC3E}">
        <p14:creationId xmlns:p14="http://schemas.microsoft.com/office/powerpoint/2010/main" val="2264293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03055-DF45-4D52-8A45-61A0B8DD589F}"/>
              </a:ext>
            </a:extLst>
          </p:cNvPr>
          <p:cNvSpPr>
            <a:spLocks noGrp="1"/>
          </p:cNvSpPr>
          <p:nvPr>
            <p:ph type="title"/>
          </p:nvPr>
        </p:nvSpPr>
        <p:spPr>
          <a:xfrm>
            <a:off x="4456713" y="59061"/>
            <a:ext cx="7636135" cy="1273215"/>
          </a:xfrm>
        </p:spPr>
        <p:txBody>
          <a:bodyPr>
            <a:normAutofit/>
          </a:bodyPr>
          <a:lstStyle/>
          <a:p>
            <a:pPr algn="r"/>
            <a:r>
              <a:rPr lang="fr-BE" sz="4000" err="1">
                <a:solidFill>
                  <a:schemeClr val="bg1"/>
                </a:solidFill>
              </a:rPr>
              <a:t>Methodology</a:t>
            </a:r>
            <a:r>
              <a:rPr lang="fr-BE" sz="4000">
                <a:solidFill>
                  <a:schemeClr val="bg1"/>
                </a:solidFill>
              </a:rPr>
              <a:t> for the </a:t>
            </a:r>
            <a:r>
              <a:rPr lang="fr-BE" sz="4000" err="1">
                <a:solidFill>
                  <a:schemeClr val="bg1"/>
                </a:solidFill>
              </a:rPr>
              <a:t>Gender</a:t>
            </a:r>
            <a:r>
              <a:rPr lang="fr-BE" sz="4000">
                <a:solidFill>
                  <a:schemeClr val="bg1"/>
                </a:solidFill>
              </a:rPr>
              <a:t> Audit</a:t>
            </a:r>
            <a:endParaRPr lang="en-GB" sz="4000">
              <a:solidFill>
                <a:schemeClr val="bg1"/>
              </a:solidFill>
            </a:endParaRPr>
          </a:p>
        </p:txBody>
      </p:sp>
      <p:graphicFrame>
        <p:nvGraphicFramePr>
          <p:cNvPr id="4" name="Content Placeholder 3">
            <a:extLst>
              <a:ext uri="{FF2B5EF4-FFF2-40B4-BE49-F238E27FC236}">
                <a16:creationId xmlns:a16="http://schemas.microsoft.com/office/drawing/2014/main" id="{51424FB2-2A0C-47AB-BF6D-73EAE80E4F35}"/>
              </a:ext>
            </a:extLst>
          </p:cNvPr>
          <p:cNvGraphicFramePr>
            <a:graphicFrameLocks noGrp="1"/>
          </p:cNvGraphicFramePr>
          <p:nvPr>
            <p:ph idx="4294967295"/>
            <p:extLst>
              <p:ext uri="{D42A27DB-BD31-4B8C-83A1-F6EECF244321}">
                <p14:modId xmlns:p14="http://schemas.microsoft.com/office/powerpoint/2010/main" val="2200159733"/>
              </p:ext>
            </p:extLst>
          </p:nvPr>
        </p:nvGraphicFramePr>
        <p:xfrm>
          <a:off x="605928" y="1332276"/>
          <a:ext cx="10515600" cy="53514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8042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1F8AC-EED7-4959-854E-7DA14C314461}"/>
              </a:ext>
            </a:extLst>
          </p:cNvPr>
          <p:cNvSpPr>
            <a:spLocks noGrp="1"/>
          </p:cNvSpPr>
          <p:nvPr>
            <p:ph type="title"/>
          </p:nvPr>
        </p:nvSpPr>
        <p:spPr>
          <a:xfrm>
            <a:off x="1676403" y="0"/>
            <a:ext cx="10515600" cy="1273215"/>
          </a:xfrm>
        </p:spPr>
        <p:txBody>
          <a:bodyPr>
            <a:normAutofit/>
          </a:bodyPr>
          <a:lstStyle/>
          <a:p>
            <a:pPr algn="r"/>
            <a:r>
              <a:rPr lang="fr-BE" sz="4000">
                <a:solidFill>
                  <a:schemeClr val="bg1"/>
                </a:solidFill>
              </a:rPr>
              <a:t>Framework for the Participatory </a:t>
            </a:r>
            <a:r>
              <a:rPr lang="fr-BE" sz="4000" err="1">
                <a:solidFill>
                  <a:schemeClr val="bg1"/>
                </a:solidFill>
              </a:rPr>
              <a:t>Gender</a:t>
            </a:r>
            <a:r>
              <a:rPr lang="fr-BE" sz="4000">
                <a:solidFill>
                  <a:schemeClr val="bg1"/>
                </a:solidFill>
              </a:rPr>
              <a:t> Audit</a:t>
            </a:r>
            <a:endParaRPr lang="en-GB" sz="4000">
              <a:solidFill>
                <a:schemeClr val="bg1"/>
              </a:solidFill>
            </a:endParaRPr>
          </a:p>
        </p:txBody>
      </p:sp>
      <p:graphicFrame>
        <p:nvGraphicFramePr>
          <p:cNvPr id="4" name="Table 4">
            <a:extLst>
              <a:ext uri="{FF2B5EF4-FFF2-40B4-BE49-F238E27FC236}">
                <a16:creationId xmlns:a16="http://schemas.microsoft.com/office/drawing/2014/main" id="{D4C3D2E0-9E2A-41EC-AE99-6DA465EDF287}"/>
              </a:ext>
            </a:extLst>
          </p:cNvPr>
          <p:cNvGraphicFramePr>
            <a:graphicFrameLocks noGrp="1"/>
          </p:cNvGraphicFramePr>
          <p:nvPr>
            <p:ph idx="4294967295"/>
            <p:extLst>
              <p:ext uri="{D42A27DB-BD31-4B8C-83A1-F6EECF244321}">
                <p14:modId xmlns:p14="http://schemas.microsoft.com/office/powerpoint/2010/main" val="4226001907"/>
              </p:ext>
            </p:extLst>
          </p:nvPr>
        </p:nvGraphicFramePr>
        <p:xfrm>
          <a:off x="1002534" y="1670318"/>
          <a:ext cx="10515597" cy="445008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313800321"/>
                    </a:ext>
                  </a:extLst>
                </a:gridCol>
                <a:gridCol w="3505199">
                  <a:extLst>
                    <a:ext uri="{9D8B030D-6E8A-4147-A177-3AD203B41FA5}">
                      <a16:colId xmlns:a16="http://schemas.microsoft.com/office/drawing/2014/main" val="3586754412"/>
                    </a:ext>
                  </a:extLst>
                </a:gridCol>
                <a:gridCol w="3505199">
                  <a:extLst>
                    <a:ext uri="{9D8B030D-6E8A-4147-A177-3AD203B41FA5}">
                      <a16:colId xmlns:a16="http://schemas.microsoft.com/office/drawing/2014/main" val="982220351"/>
                    </a:ext>
                  </a:extLst>
                </a:gridCol>
              </a:tblGrid>
              <a:tr h="370840">
                <a:tc>
                  <a:txBody>
                    <a:bodyPr/>
                    <a:lstStyle/>
                    <a:p>
                      <a:pPr algn="ctr"/>
                      <a:r>
                        <a:rPr lang="fr-BE" sz="2000" err="1"/>
                        <a:t>Knowledge</a:t>
                      </a:r>
                      <a:r>
                        <a:rPr lang="fr-BE" sz="2000"/>
                        <a:t> and </a:t>
                      </a:r>
                      <a:r>
                        <a:rPr lang="fr-BE" sz="2000" err="1"/>
                        <a:t>capacity</a:t>
                      </a:r>
                      <a:r>
                        <a:rPr lang="fr-BE" sz="2000"/>
                        <a:t> of </a:t>
                      </a:r>
                      <a:r>
                        <a:rPr lang="fr-BE" sz="2000" err="1"/>
                        <a:t>employees</a:t>
                      </a:r>
                      <a:endParaRPr lang="en-GB" sz="2000"/>
                    </a:p>
                  </a:txBody>
                  <a:tcPr/>
                </a:tc>
                <a:tc>
                  <a:txBody>
                    <a:bodyPr/>
                    <a:lstStyle/>
                    <a:p>
                      <a:pPr algn="ctr"/>
                      <a:r>
                        <a:rPr lang="fr-BE" sz="2000"/>
                        <a:t>Vision, </a:t>
                      </a:r>
                      <a:r>
                        <a:rPr lang="fr-BE" sz="2000" err="1"/>
                        <a:t>policy</a:t>
                      </a:r>
                      <a:r>
                        <a:rPr lang="fr-BE" sz="2000"/>
                        <a:t> and </a:t>
                      </a:r>
                      <a:r>
                        <a:rPr lang="fr-BE" sz="2000" err="1"/>
                        <a:t>operations</a:t>
                      </a:r>
                      <a:endParaRPr lang="en-GB" sz="2000"/>
                    </a:p>
                  </a:txBody>
                  <a:tcPr/>
                </a:tc>
                <a:tc>
                  <a:txBody>
                    <a:bodyPr/>
                    <a:lstStyle/>
                    <a:p>
                      <a:pPr algn="ctr"/>
                      <a:r>
                        <a:rPr lang="fr-BE" sz="2000" err="1"/>
                        <a:t>Staffing</a:t>
                      </a:r>
                      <a:r>
                        <a:rPr lang="fr-BE" sz="2000"/>
                        <a:t> and </a:t>
                      </a:r>
                      <a:r>
                        <a:rPr lang="fr-BE" sz="2000" err="1"/>
                        <a:t>organisational</a:t>
                      </a:r>
                      <a:r>
                        <a:rPr lang="fr-BE" sz="2000"/>
                        <a:t> culture</a:t>
                      </a:r>
                      <a:endParaRPr lang="en-GB" sz="2000"/>
                    </a:p>
                  </a:txBody>
                  <a:tcPr/>
                </a:tc>
                <a:extLst>
                  <a:ext uri="{0D108BD9-81ED-4DB2-BD59-A6C34878D82A}">
                    <a16:rowId xmlns:a16="http://schemas.microsoft.com/office/drawing/2014/main" val="3506567741"/>
                  </a:ext>
                </a:extLst>
              </a:tr>
              <a:tr h="370840">
                <a:tc rowSpan="3">
                  <a:txBody>
                    <a:bodyPr/>
                    <a:lstStyle/>
                    <a:p>
                      <a:r>
                        <a:rPr lang="fr-BE" err="1"/>
                        <a:t>Employees</a:t>
                      </a:r>
                      <a:r>
                        <a:rPr lang="fr-BE"/>
                        <a:t>’ </a:t>
                      </a:r>
                      <a:r>
                        <a:rPr lang="fr-BE" err="1"/>
                        <a:t>awareness</a:t>
                      </a:r>
                      <a:r>
                        <a:rPr lang="fr-BE"/>
                        <a:t> on </a:t>
                      </a:r>
                      <a:r>
                        <a:rPr lang="fr-BE" err="1"/>
                        <a:t>gender</a:t>
                      </a:r>
                      <a:r>
                        <a:rPr lang="fr-BE"/>
                        <a:t> issues</a:t>
                      </a:r>
                      <a:endParaRPr lang="en-GB"/>
                    </a:p>
                  </a:txBody>
                  <a:tcPr/>
                </a:tc>
                <a:tc>
                  <a:txBody>
                    <a:bodyPr/>
                    <a:lstStyle/>
                    <a:p>
                      <a:r>
                        <a:rPr lang="fr-BE" err="1"/>
                        <a:t>Gender</a:t>
                      </a:r>
                      <a:r>
                        <a:rPr lang="fr-BE"/>
                        <a:t> </a:t>
                      </a:r>
                      <a:r>
                        <a:rPr lang="fr-BE" err="1"/>
                        <a:t>mainstreaming</a:t>
                      </a:r>
                      <a:r>
                        <a:rPr lang="fr-BE"/>
                        <a:t> in multiple </a:t>
                      </a:r>
                      <a:r>
                        <a:rPr lang="fr-BE" err="1"/>
                        <a:t>organisational</a:t>
                      </a:r>
                      <a:r>
                        <a:rPr lang="fr-BE"/>
                        <a:t> dimensions (vision, </a:t>
                      </a:r>
                      <a:r>
                        <a:rPr lang="fr-BE" err="1"/>
                        <a:t>policies</a:t>
                      </a:r>
                      <a:r>
                        <a:rPr lang="fr-BE"/>
                        <a:t>, programmes, communication, budget, etc.)</a:t>
                      </a:r>
                      <a:endParaRPr lang="en-GB"/>
                    </a:p>
                  </a:txBody>
                  <a:tcPr/>
                </a:tc>
                <a:tc>
                  <a:txBody>
                    <a:bodyPr/>
                    <a:lstStyle/>
                    <a:p>
                      <a:r>
                        <a:rPr lang="fr-BE" err="1"/>
                        <a:t>Numerical</a:t>
                      </a:r>
                      <a:r>
                        <a:rPr lang="fr-BE"/>
                        <a:t> </a:t>
                      </a:r>
                      <a:r>
                        <a:rPr lang="fr-BE" err="1"/>
                        <a:t>gender</a:t>
                      </a:r>
                      <a:r>
                        <a:rPr lang="fr-BE"/>
                        <a:t> balance</a:t>
                      </a:r>
                      <a:endParaRPr lang="en-GB"/>
                    </a:p>
                  </a:txBody>
                  <a:tcPr/>
                </a:tc>
                <a:extLst>
                  <a:ext uri="{0D108BD9-81ED-4DB2-BD59-A6C34878D82A}">
                    <a16:rowId xmlns:a16="http://schemas.microsoft.com/office/drawing/2014/main" val="2218454261"/>
                  </a:ext>
                </a:extLst>
              </a:tr>
              <a:tr h="370840">
                <a:tc vMerge="1">
                  <a:txBody>
                    <a:bodyPr/>
                    <a:lstStyle/>
                    <a:p>
                      <a:endParaRPr lang="en-GB"/>
                    </a:p>
                  </a:txBody>
                  <a:tcPr/>
                </a:tc>
                <a:tc rowSpan="2">
                  <a:txBody>
                    <a:bodyPr/>
                    <a:lstStyle/>
                    <a:p>
                      <a:r>
                        <a:rPr lang="fr-BE"/>
                        <a:t>Evaluation and monitoring </a:t>
                      </a:r>
                      <a:r>
                        <a:rPr lang="fr-BE" err="1"/>
                        <a:t>tools</a:t>
                      </a:r>
                      <a:r>
                        <a:rPr lang="fr-BE"/>
                        <a:t> on </a:t>
                      </a:r>
                      <a:r>
                        <a:rPr lang="fr-BE" err="1"/>
                        <a:t>gender</a:t>
                      </a:r>
                      <a:r>
                        <a:rPr lang="fr-BE"/>
                        <a:t> </a:t>
                      </a:r>
                      <a:r>
                        <a:rPr lang="fr-BE" err="1"/>
                        <a:t>equality</a:t>
                      </a:r>
                      <a:endParaRPr lang="en-GB"/>
                    </a:p>
                  </a:txBody>
                  <a:tcPr/>
                </a:tc>
                <a:tc>
                  <a:txBody>
                    <a:bodyPr/>
                    <a:lstStyle/>
                    <a:p>
                      <a:r>
                        <a:rPr lang="fr-BE" err="1"/>
                        <a:t>Gender</a:t>
                      </a:r>
                      <a:r>
                        <a:rPr lang="fr-BE"/>
                        <a:t> sensitive-transformative </a:t>
                      </a:r>
                      <a:r>
                        <a:rPr lang="fr-BE" err="1"/>
                        <a:t>human</a:t>
                      </a:r>
                      <a:r>
                        <a:rPr lang="fr-BE"/>
                        <a:t> </a:t>
                      </a:r>
                      <a:r>
                        <a:rPr lang="fr-BE" err="1"/>
                        <a:t>resources</a:t>
                      </a:r>
                      <a:r>
                        <a:rPr lang="fr-BE"/>
                        <a:t> </a:t>
                      </a:r>
                      <a:r>
                        <a:rPr lang="fr-BE" err="1"/>
                        <a:t>policies</a:t>
                      </a:r>
                      <a:endParaRPr lang="en-GB"/>
                    </a:p>
                  </a:txBody>
                  <a:tcPr/>
                </a:tc>
                <a:extLst>
                  <a:ext uri="{0D108BD9-81ED-4DB2-BD59-A6C34878D82A}">
                    <a16:rowId xmlns:a16="http://schemas.microsoft.com/office/drawing/2014/main" val="1027225781"/>
                  </a:ext>
                </a:extLst>
              </a:tr>
              <a:tr h="370840">
                <a:tc vMerge="1">
                  <a:txBody>
                    <a:bodyPr/>
                    <a:lstStyle/>
                    <a:p>
                      <a:endParaRPr lang="en-GB"/>
                    </a:p>
                  </a:txBody>
                  <a:tcPr/>
                </a:tc>
                <a:tc vMerge="1">
                  <a:txBody>
                    <a:bodyPr/>
                    <a:lstStyle/>
                    <a:p>
                      <a:endParaRPr lang="en-GB"/>
                    </a:p>
                  </a:txBody>
                  <a:tcPr/>
                </a:tc>
                <a:tc>
                  <a:txBody>
                    <a:bodyPr/>
                    <a:lstStyle/>
                    <a:p>
                      <a:r>
                        <a:rPr lang="fr-BE" err="1"/>
                        <a:t>Decisions</a:t>
                      </a:r>
                      <a:r>
                        <a:rPr lang="fr-BE"/>
                        <a:t> </a:t>
                      </a:r>
                      <a:r>
                        <a:rPr lang="fr-BE" err="1"/>
                        <a:t>affecting</a:t>
                      </a:r>
                      <a:r>
                        <a:rPr lang="fr-BE"/>
                        <a:t> </a:t>
                      </a:r>
                      <a:r>
                        <a:rPr lang="fr-BE" err="1"/>
                        <a:t>gender</a:t>
                      </a:r>
                      <a:r>
                        <a:rPr lang="fr-BE"/>
                        <a:t> </a:t>
                      </a:r>
                      <a:r>
                        <a:rPr lang="fr-BE" err="1"/>
                        <a:t>mainstreaming</a:t>
                      </a:r>
                      <a:r>
                        <a:rPr lang="fr-BE"/>
                        <a:t> (how and by </a:t>
                      </a:r>
                      <a:r>
                        <a:rPr lang="fr-BE" err="1"/>
                        <a:t>whom</a:t>
                      </a:r>
                      <a:r>
                        <a:rPr lang="fr-BE"/>
                        <a:t>)</a:t>
                      </a:r>
                      <a:endParaRPr lang="en-GB"/>
                    </a:p>
                  </a:txBody>
                  <a:tcPr/>
                </a:tc>
                <a:extLst>
                  <a:ext uri="{0D108BD9-81ED-4DB2-BD59-A6C34878D82A}">
                    <a16:rowId xmlns:a16="http://schemas.microsoft.com/office/drawing/2014/main" val="2697697906"/>
                  </a:ext>
                </a:extLst>
              </a:tr>
              <a:tr h="37084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err="1"/>
                        <a:t>Employees</a:t>
                      </a:r>
                      <a:r>
                        <a:rPr lang="fr-BE"/>
                        <a:t>’ </a:t>
                      </a:r>
                      <a:r>
                        <a:rPr lang="fr-BE" err="1"/>
                        <a:t>gender</a:t>
                      </a:r>
                      <a:r>
                        <a:rPr lang="fr-BE"/>
                        <a:t> expertise and </a:t>
                      </a:r>
                      <a:r>
                        <a:rPr lang="fr-BE" err="1"/>
                        <a:t>competence</a:t>
                      </a:r>
                      <a:endParaRPr lang="en-GB"/>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err="1"/>
                        <a:t>Selection</a:t>
                      </a:r>
                      <a:r>
                        <a:rPr lang="fr-BE"/>
                        <a:t> of </a:t>
                      </a:r>
                      <a:r>
                        <a:rPr lang="fr-BE" err="1"/>
                        <a:t>partners</a:t>
                      </a:r>
                      <a:r>
                        <a:rPr lang="fr-BE"/>
                        <a:t> in </a:t>
                      </a:r>
                      <a:r>
                        <a:rPr lang="fr-BE" err="1"/>
                        <a:t>promoting</a:t>
                      </a:r>
                      <a:r>
                        <a:rPr lang="fr-BE"/>
                        <a:t> </a:t>
                      </a:r>
                      <a:r>
                        <a:rPr lang="fr-BE" err="1"/>
                        <a:t>gender</a:t>
                      </a:r>
                      <a:r>
                        <a:rPr lang="fr-BE"/>
                        <a:t> </a:t>
                      </a:r>
                      <a:r>
                        <a:rPr lang="fr-BE" err="1"/>
                        <a:t>equality</a:t>
                      </a:r>
                      <a:endParaRPr lang="en-GB"/>
                    </a:p>
                  </a:txBody>
                  <a:tcPr/>
                </a:tc>
                <a:tc>
                  <a:txBody>
                    <a:bodyPr/>
                    <a:lstStyle/>
                    <a:p>
                      <a:r>
                        <a:rPr lang="fr-BE" err="1"/>
                        <a:t>Gender</a:t>
                      </a:r>
                      <a:r>
                        <a:rPr lang="fr-BE"/>
                        <a:t> architecture/network in the organisation, if </a:t>
                      </a:r>
                      <a:r>
                        <a:rPr lang="fr-BE" err="1"/>
                        <a:t>any</a:t>
                      </a:r>
                      <a:endParaRPr lang="en-GB"/>
                    </a:p>
                  </a:txBody>
                  <a:tcPr/>
                </a:tc>
                <a:extLst>
                  <a:ext uri="{0D108BD9-81ED-4DB2-BD59-A6C34878D82A}">
                    <a16:rowId xmlns:a16="http://schemas.microsoft.com/office/drawing/2014/main" val="3034931430"/>
                  </a:ext>
                </a:extLst>
              </a:tr>
              <a:tr h="370840">
                <a:tc vMerge="1">
                  <a:txBody>
                    <a:bodyPr/>
                    <a:lstStyle/>
                    <a:p>
                      <a:endParaRPr lang="en-GB"/>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err="1"/>
                        <a:t>Selection</a:t>
                      </a:r>
                      <a:r>
                        <a:rPr lang="fr-BE"/>
                        <a:t> of </a:t>
                      </a:r>
                      <a:r>
                        <a:rPr lang="fr-BE" err="1"/>
                        <a:t>partners</a:t>
                      </a:r>
                      <a:r>
                        <a:rPr lang="fr-BE"/>
                        <a:t> in </a:t>
                      </a:r>
                      <a:r>
                        <a:rPr lang="fr-BE" err="1"/>
                        <a:t>promoting</a:t>
                      </a:r>
                      <a:r>
                        <a:rPr lang="fr-BE"/>
                        <a:t> </a:t>
                      </a:r>
                      <a:r>
                        <a:rPr lang="fr-BE" err="1"/>
                        <a:t>gender</a:t>
                      </a:r>
                      <a:r>
                        <a:rPr lang="fr-BE"/>
                        <a:t> </a:t>
                      </a:r>
                      <a:r>
                        <a:rPr lang="fr-BE" err="1"/>
                        <a:t>equality</a:t>
                      </a:r>
                      <a:endParaRPr lang="en-GB"/>
                    </a:p>
                  </a:txBody>
                  <a:tcPr/>
                </a:tc>
                <a:tc>
                  <a:txBody>
                    <a:bodyPr/>
                    <a:lstStyle/>
                    <a:p>
                      <a:r>
                        <a:rPr lang="fr-BE" err="1"/>
                        <a:t>Gender</a:t>
                      </a:r>
                      <a:r>
                        <a:rPr lang="fr-BE"/>
                        <a:t> </a:t>
                      </a:r>
                      <a:r>
                        <a:rPr lang="fr-BE" err="1"/>
                        <a:t>friendliness</a:t>
                      </a:r>
                      <a:r>
                        <a:rPr lang="fr-BE"/>
                        <a:t> of the </a:t>
                      </a:r>
                      <a:r>
                        <a:rPr lang="fr-BE" err="1"/>
                        <a:t>organisational</a:t>
                      </a:r>
                      <a:r>
                        <a:rPr lang="fr-BE"/>
                        <a:t> culture</a:t>
                      </a:r>
                      <a:endParaRPr lang="en-GB"/>
                    </a:p>
                  </a:txBody>
                  <a:tcPr/>
                </a:tc>
                <a:extLst>
                  <a:ext uri="{0D108BD9-81ED-4DB2-BD59-A6C34878D82A}">
                    <a16:rowId xmlns:a16="http://schemas.microsoft.com/office/drawing/2014/main" val="1748403063"/>
                  </a:ext>
                </a:extLst>
              </a:tr>
            </a:tbl>
          </a:graphicData>
        </a:graphic>
      </p:graphicFrame>
    </p:spTree>
    <p:extLst>
      <p:ext uri="{BB962C8B-B14F-4D97-AF65-F5344CB8AC3E}">
        <p14:creationId xmlns:p14="http://schemas.microsoft.com/office/powerpoint/2010/main" val="38365356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AFE8A-EB8B-459A-BFE8-236E41589385}"/>
              </a:ext>
            </a:extLst>
          </p:cNvPr>
          <p:cNvSpPr>
            <a:spLocks noGrp="1"/>
          </p:cNvSpPr>
          <p:nvPr>
            <p:ph type="title"/>
          </p:nvPr>
        </p:nvSpPr>
        <p:spPr>
          <a:xfrm>
            <a:off x="5949108" y="0"/>
            <a:ext cx="6242892" cy="1273215"/>
          </a:xfrm>
        </p:spPr>
        <p:txBody>
          <a:bodyPr>
            <a:normAutofit/>
          </a:bodyPr>
          <a:lstStyle/>
          <a:p>
            <a:pPr algn="r"/>
            <a:r>
              <a:rPr lang="fr-BE" sz="4000" err="1">
                <a:solidFill>
                  <a:schemeClr val="bg1"/>
                </a:solidFill>
              </a:rPr>
              <a:t>Some</a:t>
            </a:r>
            <a:r>
              <a:rPr lang="fr-BE" sz="4000">
                <a:solidFill>
                  <a:schemeClr val="bg1"/>
                </a:solidFill>
              </a:rPr>
              <a:t> </a:t>
            </a:r>
            <a:r>
              <a:rPr lang="fr-BE" sz="4000" err="1">
                <a:solidFill>
                  <a:schemeClr val="bg1"/>
                </a:solidFill>
              </a:rPr>
              <a:t>examples</a:t>
            </a:r>
            <a:r>
              <a:rPr lang="fr-BE" sz="4000">
                <a:solidFill>
                  <a:schemeClr val="bg1"/>
                </a:solidFill>
              </a:rPr>
              <a:t> of </a:t>
            </a:r>
            <a:r>
              <a:rPr lang="fr-BE" sz="4000" err="1">
                <a:solidFill>
                  <a:schemeClr val="bg1"/>
                </a:solidFill>
              </a:rPr>
              <a:t>findings</a:t>
            </a:r>
            <a:endParaRPr lang="en-GB" sz="4000">
              <a:solidFill>
                <a:schemeClr val="bg1"/>
              </a:solidFill>
            </a:endParaRPr>
          </a:p>
        </p:txBody>
      </p:sp>
      <p:graphicFrame>
        <p:nvGraphicFramePr>
          <p:cNvPr id="4" name="Content Placeholder 3">
            <a:extLst>
              <a:ext uri="{FF2B5EF4-FFF2-40B4-BE49-F238E27FC236}">
                <a16:creationId xmlns:a16="http://schemas.microsoft.com/office/drawing/2014/main" id="{FE49F12A-312B-4903-ABBF-7B23967A36CE}"/>
              </a:ext>
            </a:extLst>
          </p:cNvPr>
          <p:cNvGraphicFramePr>
            <a:graphicFrameLocks noGrp="1"/>
          </p:cNvGraphicFramePr>
          <p:nvPr>
            <p:ph idx="4294967295"/>
            <p:extLst>
              <p:ext uri="{D42A27DB-BD31-4B8C-83A1-F6EECF244321}">
                <p14:modId xmlns:p14="http://schemas.microsoft.com/office/powerpoint/2010/main" val="3812608996"/>
              </p:ext>
            </p:extLst>
          </p:nvPr>
        </p:nvGraphicFramePr>
        <p:xfrm>
          <a:off x="837282" y="1560148"/>
          <a:ext cx="10515600" cy="50244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925659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0B72F-1C9F-AC1F-3524-DC84926030C8}"/>
              </a:ext>
            </a:extLst>
          </p:cNvPr>
          <p:cNvSpPr>
            <a:spLocks noGrp="1"/>
          </p:cNvSpPr>
          <p:nvPr>
            <p:ph type="ctrTitle"/>
          </p:nvPr>
        </p:nvSpPr>
        <p:spPr>
          <a:xfrm>
            <a:off x="369983" y="1280539"/>
            <a:ext cx="8240617" cy="1823427"/>
          </a:xfrm>
        </p:spPr>
        <p:txBody>
          <a:bodyPr vert="horz" lIns="91440" tIns="45720" rIns="91440" bIns="45720" rtlCol="0" anchor="t">
            <a:normAutofit/>
          </a:bodyPr>
          <a:lstStyle/>
          <a:p>
            <a:pPr algn="l"/>
            <a:r>
              <a:rPr lang="en-US">
                <a:solidFill>
                  <a:schemeClr val="bg1"/>
                </a:solidFill>
              </a:rPr>
              <a:t>Endorsing Diversity and Inclusion at ERA</a:t>
            </a:r>
            <a:endParaRPr lang="en-GB">
              <a:solidFill>
                <a:schemeClr val="bg1"/>
              </a:solidFill>
            </a:endParaRPr>
          </a:p>
        </p:txBody>
      </p:sp>
      <p:sp>
        <p:nvSpPr>
          <p:cNvPr id="3" name="Subtitle 2">
            <a:extLst>
              <a:ext uri="{FF2B5EF4-FFF2-40B4-BE49-F238E27FC236}">
                <a16:creationId xmlns:a16="http://schemas.microsoft.com/office/drawing/2014/main" id="{15BB2FE8-9847-4BB4-7F07-A50CF75BA000}"/>
              </a:ext>
            </a:extLst>
          </p:cNvPr>
          <p:cNvSpPr>
            <a:spLocks noGrp="1"/>
          </p:cNvSpPr>
          <p:nvPr>
            <p:ph type="subTitle" idx="1"/>
          </p:nvPr>
        </p:nvSpPr>
        <p:spPr>
          <a:xfrm>
            <a:off x="369983" y="3660796"/>
            <a:ext cx="5847203" cy="540304"/>
          </a:xfrm>
        </p:spPr>
        <p:txBody>
          <a:bodyPr/>
          <a:lstStyle/>
          <a:p>
            <a:pPr algn="l"/>
            <a:r>
              <a:rPr lang="fr-BE">
                <a:solidFill>
                  <a:schemeClr val="bg1"/>
                </a:solidFill>
              </a:rPr>
              <a:t>Oana </a:t>
            </a:r>
            <a:r>
              <a:rPr lang="fr-BE" err="1">
                <a:solidFill>
                  <a:schemeClr val="bg1"/>
                </a:solidFill>
              </a:rPr>
              <a:t>Gherghinescu</a:t>
            </a:r>
            <a:endParaRPr lang="en-GB">
              <a:solidFill>
                <a:schemeClr val="bg1"/>
              </a:solidFill>
            </a:endParaRPr>
          </a:p>
        </p:txBody>
      </p:sp>
      <p:pic>
        <p:nvPicPr>
          <p:cNvPr id="8" name="Picture Placeholder 7" descr="A picture containing person, indoor, silhouette&#10;&#10;Description automatically generated">
            <a:extLst>
              <a:ext uri="{FF2B5EF4-FFF2-40B4-BE49-F238E27FC236}">
                <a16:creationId xmlns:a16="http://schemas.microsoft.com/office/drawing/2014/main" id="{C4515A18-A01A-537E-3D82-38AF1C3BAC7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8423" r="28423"/>
          <a:stretch>
            <a:fillRect/>
          </a:stretch>
        </p:blipFill>
        <p:spPr>
          <a:xfrm>
            <a:off x="7756525" y="0"/>
            <a:ext cx="4435475" cy="6858000"/>
          </a:xfrm>
        </p:spPr>
      </p:pic>
      <p:sp>
        <p:nvSpPr>
          <p:cNvPr id="4" name="TextBox 3">
            <a:extLst>
              <a:ext uri="{FF2B5EF4-FFF2-40B4-BE49-F238E27FC236}">
                <a16:creationId xmlns:a16="http://schemas.microsoft.com/office/drawing/2014/main" id="{F251208A-7A45-3096-4CC1-3C466C40C558}"/>
              </a:ext>
            </a:extLst>
          </p:cNvPr>
          <p:cNvSpPr txBox="1"/>
          <p:nvPr/>
        </p:nvSpPr>
        <p:spPr>
          <a:xfrm>
            <a:off x="369983" y="2995881"/>
            <a:ext cx="7275723" cy="1015663"/>
          </a:xfrm>
          <a:prstGeom prst="rect">
            <a:avLst/>
          </a:prstGeom>
          <a:noFill/>
        </p:spPr>
        <p:txBody>
          <a:bodyPr wrap="square" rtlCol="0">
            <a:spAutoFit/>
          </a:bodyPr>
          <a:lstStyle/>
          <a:p>
            <a:r>
              <a:rPr lang="en-GB" sz="3000" b="1" kern="0">
                <a:solidFill>
                  <a:schemeClr val="bg1"/>
                </a:solidFill>
                <a:effectLst/>
                <a:latin typeface="Calibri Light" panose="020F0302020204030204" pitchFamily="34" charset="0"/>
                <a:ea typeface="Times New Roman" panose="02020603050405020304" pitchFamily="18" charset="0"/>
                <a:cs typeface="Times New Roman" panose="02020603050405020304" pitchFamily="18" charset="0"/>
              </a:rPr>
              <a:t>Our Commitment and High-level objectives </a:t>
            </a:r>
          </a:p>
          <a:p>
            <a:endParaRPr lang="en-GB" sz="3000"/>
          </a:p>
        </p:txBody>
      </p:sp>
      <p:pic>
        <p:nvPicPr>
          <p:cNvPr id="6" name="Picture 5" descr="Logo&#10;&#10;Description automatically generated">
            <a:extLst>
              <a:ext uri="{FF2B5EF4-FFF2-40B4-BE49-F238E27FC236}">
                <a16:creationId xmlns:a16="http://schemas.microsoft.com/office/drawing/2014/main" id="{CA6D3035-450F-A339-BDF3-213420CA8AD2}"/>
              </a:ext>
            </a:extLst>
          </p:cNvPr>
          <p:cNvPicPr>
            <a:picLocks noChangeAspect="1"/>
          </p:cNvPicPr>
          <p:nvPr/>
        </p:nvPicPr>
        <p:blipFill>
          <a:blip r:embed="rId3"/>
          <a:stretch>
            <a:fillRect/>
          </a:stretch>
        </p:blipFill>
        <p:spPr>
          <a:xfrm>
            <a:off x="2685526" y="3969482"/>
            <a:ext cx="2655277" cy="2731841"/>
          </a:xfrm>
          <a:prstGeom prst="rect">
            <a:avLst/>
          </a:prstGeom>
        </p:spPr>
      </p:pic>
    </p:spTree>
    <p:extLst>
      <p:ext uri="{BB962C8B-B14F-4D97-AF65-F5344CB8AC3E}">
        <p14:creationId xmlns:p14="http://schemas.microsoft.com/office/powerpoint/2010/main" val="4049336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8226CC0-EFFA-878B-53DA-15FF92B7731E}"/>
              </a:ext>
            </a:extLst>
          </p:cNvPr>
          <p:cNvSpPr txBox="1">
            <a:spLocks/>
          </p:cNvSpPr>
          <p:nvPr/>
        </p:nvSpPr>
        <p:spPr>
          <a:xfrm>
            <a:off x="5853859" y="142875"/>
            <a:ext cx="6183360" cy="12732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kern="1200">
                <a:solidFill>
                  <a:schemeClr val="bg2"/>
                </a:solidFill>
                <a:latin typeface="+mj-lt"/>
                <a:ea typeface="+mj-ea"/>
                <a:cs typeface="+mj-cs"/>
              </a:defRPr>
            </a:lvl1pPr>
          </a:lstStyle>
          <a:p>
            <a:pPr algn="r"/>
            <a:r>
              <a:rPr lang="fr-BE" sz="4000" err="1">
                <a:solidFill>
                  <a:schemeClr val="bg1"/>
                </a:solidFill>
              </a:rPr>
              <a:t>Fostering</a:t>
            </a:r>
            <a:r>
              <a:rPr lang="fr-BE" sz="4000">
                <a:solidFill>
                  <a:schemeClr val="bg1"/>
                </a:solidFill>
              </a:rPr>
              <a:t> change @ERA</a:t>
            </a:r>
            <a:endParaRPr lang="en-US">
              <a:solidFill>
                <a:schemeClr val="bg1"/>
              </a:solidFill>
            </a:endParaRPr>
          </a:p>
        </p:txBody>
      </p:sp>
      <p:sp>
        <p:nvSpPr>
          <p:cNvPr id="8" name="TextBox 7">
            <a:extLst>
              <a:ext uri="{FF2B5EF4-FFF2-40B4-BE49-F238E27FC236}">
                <a16:creationId xmlns:a16="http://schemas.microsoft.com/office/drawing/2014/main" id="{E96CAF90-D2A5-38D3-5E8D-017602099031}"/>
              </a:ext>
            </a:extLst>
          </p:cNvPr>
          <p:cNvSpPr txBox="1"/>
          <p:nvPr/>
        </p:nvSpPr>
        <p:spPr>
          <a:xfrm>
            <a:off x="1397876" y="1866900"/>
            <a:ext cx="10415505"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200" b="1">
                <a:solidFill>
                  <a:srgbClr val="FFFF00"/>
                </a:solidFill>
                <a:cs typeface="Calibri" panose="020F0502020204030204"/>
              </a:rPr>
              <a:t>AWARENESS</a:t>
            </a:r>
          </a:p>
          <a:p>
            <a:pPr algn="just"/>
            <a:endParaRPr lang="en-US" sz="2200" b="1">
              <a:solidFill>
                <a:srgbClr val="FFFF00"/>
              </a:solidFill>
              <a:cs typeface="Calibri" panose="020F0502020204030204"/>
            </a:endParaRPr>
          </a:p>
          <a:p>
            <a:pPr marL="457200" indent="-457200" algn="just">
              <a:buFont typeface="Arial"/>
              <a:buChar char="•"/>
            </a:pPr>
            <a:r>
              <a:rPr lang="en-US" sz="2200" b="1">
                <a:solidFill>
                  <a:schemeClr val="bg1"/>
                </a:solidFill>
              </a:rPr>
              <a:t>Internal workshops </a:t>
            </a:r>
            <a:r>
              <a:rPr lang="en-US" sz="2200">
                <a:solidFill>
                  <a:schemeClr val="bg1"/>
                </a:solidFill>
              </a:rPr>
              <a:t>on diversity and gender mainstreaming</a:t>
            </a:r>
          </a:p>
          <a:p>
            <a:pPr marL="457200" indent="-457200" algn="just">
              <a:buFont typeface="Arial"/>
              <a:buChar char="•"/>
            </a:pPr>
            <a:endParaRPr lang="en-US" sz="1000">
              <a:solidFill>
                <a:schemeClr val="bg1"/>
              </a:solidFill>
            </a:endParaRPr>
          </a:p>
          <a:p>
            <a:pPr marL="457200" indent="-457200" algn="just">
              <a:buFont typeface="Arial"/>
              <a:buChar char="•"/>
            </a:pPr>
            <a:r>
              <a:rPr lang="en-US" sz="2200" b="1">
                <a:solidFill>
                  <a:schemeClr val="bg1"/>
                </a:solidFill>
              </a:rPr>
              <a:t>Participatory Gender Audit result</a:t>
            </a:r>
            <a:r>
              <a:rPr lang="en-US" sz="2200">
                <a:solidFill>
                  <a:schemeClr val="bg1"/>
                </a:solidFill>
              </a:rPr>
              <a:t>s transparently discussed</a:t>
            </a: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a:solidFill>
                  <a:schemeClr val="bg1"/>
                </a:solidFill>
                <a:cs typeface="Calibri"/>
              </a:rPr>
              <a:t>Gender representation indicators monitored in the </a:t>
            </a:r>
            <a:r>
              <a:rPr lang="en-US" sz="2200" b="1">
                <a:solidFill>
                  <a:schemeClr val="bg1"/>
                </a:solidFill>
                <a:cs typeface="Calibri"/>
              </a:rPr>
              <a:t>Management Dashboard</a:t>
            </a:r>
            <a:endParaRPr lang="en-US" sz="2200">
              <a:solidFill>
                <a:schemeClr val="bg1"/>
              </a:solidFill>
              <a:cs typeface="Calibri"/>
            </a:endParaRP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b="1">
                <a:solidFill>
                  <a:schemeClr val="bg1"/>
                </a:solidFill>
                <a:cs typeface="Calibri"/>
              </a:rPr>
              <a:t>Training sessions</a:t>
            </a:r>
            <a:r>
              <a:rPr lang="en-US" sz="2200">
                <a:solidFill>
                  <a:schemeClr val="bg1"/>
                </a:solidFill>
                <a:cs typeface="Calibri"/>
              </a:rPr>
              <a:t> on diversity related matters</a:t>
            </a: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a:solidFill>
                  <a:schemeClr val="bg1"/>
                </a:solidFill>
              </a:rPr>
              <a:t>“S</a:t>
            </a:r>
            <a:r>
              <a:rPr lang="en-US" sz="2200" b="1">
                <a:solidFill>
                  <a:schemeClr val="bg1"/>
                </a:solidFill>
              </a:rPr>
              <a:t>peed networking</a:t>
            </a:r>
            <a:r>
              <a:rPr lang="en-US" sz="2200">
                <a:solidFill>
                  <a:schemeClr val="bg1"/>
                </a:solidFill>
              </a:rPr>
              <a:t>” sessions for female colleagues interested in the ERA work</a:t>
            </a:r>
            <a:endParaRPr lang="en-US" sz="2200">
              <a:solidFill>
                <a:schemeClr val="bg1"/>
              </a:solidFill>
              <a:cs typeface="Calibri"/>
            </a:endParaRPr>
          </a:p>
        </p:txBody>
      </p:sp>
    </p:spTree>
    <p:extLst>
      <p:ext uri="{BB962C8B-B14F-4D97-AF65-F5344CB8AC3E}">
        <p14:creationId xmlns:p14="http://schemas.microsoft.com/office/powerpoint/2010/main" val="1775282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8226CC0-EFFA-878B-53DA-15FF92B7731E}"/>
              </a:ext>
            </a:extLst>
          </p:cNvPr>
          <p:cNvSpPr txBox="1">
            <a:spLocks/>
          </p:cNvSpPr>
          <p:nvPr/>
        </p:nvSpPr>
        <p:spPr>
          <a:xfrm>
            <a:off x="5853859" y="142875"/>
            <a:ext cx="6183360" cy="12732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kern="1200">
                <a:solidFill>
                  <a:schemeClr val="bg2"/>
                </a:solidFill>
                <a:latin typeface="+mj-lt"/>
                <a:ea typeface="+mj-ea"/>
                <a:cs typeface="+mj-cs"/>
              </a:defRPr>
            </a:lvl1pPr>
          </a:lstStyle>
          <a:p>
            <a:pPr algn="r"/>
            <a:r>
              <a:rPr lang="fr-BE" sz="4000" err="1">
                <a:solidFill>
                  <a:schemeClr val="bg1"/>
                </a:solidFill>
              </a:rPr>
              <a:t>Fostering</a:t>
            </a:r>
            <a:r>
              <a:rPr lang="fr-BE" sz="4000">
                <a:solidFill>
                  <a:schemeClr val="bg1"/>
                </a:solidFill>
              </a:rPr>
              <a:t> change @ERA</a:t>
            </a:r>
            <a:endParaRPr lang="en-US">
              <a:solidFill>
                <a:schemeClr val="bg1"/>
              </a:solidFill>
            </a:endParaRPr>
          </a:p>
        </p:txBody>
      </p:sp>
      <p:sp>
        <p:nvSpPr>
          <p:cNvPr id="8" name="TextBox 7">
            <a:extLst>
              <a:ext uri="{FF2B5EF4-FFF2-40B4-BE49-F238E27FC236}">
                <a16:creationId xmlns:a16="http://schemas.microsoft.com/office/drawing/2014/main" id="{E96CAF90-D2A5-38D3-5E8D-017602099031}"/>
              </a:ext>
            </a:extLst>
          </p:cNvPr>
          <p:cNvSpPr txBox="1"/>
          <p:nvPr/>
        </p:nvSpPr>
        <p:spPr>
          <a:xfrm>
            <a:off x="1397876" y="1866900"/>
            <a:ext cx="10415505" cy="37548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200" b="1">
                <a:solidFill>
                  <a:srgbClr val="FFFF00"/>
                </a:solidFill>
                <a:cs typeface="Calibri" panose="020F0502020204030204"/>
              </a:rPr>
              <a:t>INCLUSIVE HIRING AND CAREER PATHS</a:t>
            </a:r>
          </a:p>
          <a:p>
            <a:pPr algn="just"/>
            <a:endParaRPr lang="en-US" sz="2200" b="1">
              <a:solidFill>
                <a:srgbClr val="FFFF00"/>
              </a:solidFill>
              <a:cs typeface="Calibri" panose="020F0502020204030204"/>
            </a:endParaRPr>
          </a:p>
          <a:p>
            <a:pPr marL="457200" indent="-457200" algn="just">
              <a:buFont typeface="Arial"/>
              <a:buChar char="•"/>
            </a:pPr>
            <a:r>
              <a:rPr lang="en-US" sz="2200">
                <a:solidFill>
                  <a:schemeClr val="bg1"/>
                </a:solidFill>
                <a:ea typeface="+mn-lt"/>
                <a:cs typeface="+mn-lt"/>
              </a:rPr>
              <a:t>Further training for the HR experts to guarantee </a:t>
            </a:r>
            <a:r>
              <a:rPr lang="en-US" sz="2200" b="1">
                <a:solidFill>
                  <a:schemeClr val="bg1"/>
                </a:solidFill>
                <a:ea typeface="+mn-lt"/>
                <a:cs typeface="+mn-lt"/>
              </a:rPr>
              <a:t>diversity and inclusion during the selection process</a:t>
            </a:r>
          </a:p>
          <a:p>
            <a:pPr marL="457200" indent="-457200" algn="just">
              <a:buFont typeface="Arial"/>
              <a:buChar char="•"/>
            </a:pPr>
            <a:endParaRPr lang="en-US" sz="1000">
              <a:solidFill>
                <a:schemeClr val="bg1"/>
              </a:solidFill>
              <a:ea typeface="+mn-lt"/>
              <a:cs typeface="+mn-lt"/>
            </a:endParaRPr>
          </a:p>
          <a:p>
            <a:pPr marL="457200" indent="-457200" algn="just">
              <a:buFont typeface="Arial"/>
              <a:buChar char="•"/>
            </a:pPr>
            <a:r>
              <a:rPr lang="en-US" sz="2200">
                <a:solidFill>
                  <a:schemeClr val="bg1"/>
                </a:solidFill>
                <a:ea typeface="+mn-lt"/>
                <a:cs typeface="+mn-lt"/>
              </a:rPr>
              <a:t>Tools to detect gender </a:t>
            </a:r>
            <a:r>
              <a:rPr lang="en-US" sz="2200" b="1">
                <a:solidFill>
                  <a:schemeClr val="bg1"/>
                </a:solidFill>
                <a:ea typeface="+mn-lt"/>
                <a:cs typeface="+mn-lt"/>
              </a:rPr>
              <a:t>biases in documents</a:t>
            </a:r>
            <a:r>
              <a:rPr lang="en-US" sz="2200">
                <a:solidFill>
                  <a:schemeClr val="bg1"/>
                </a:solidFill>
                <a:ea typeface="+mn-lt"/>
                <a:cs typeface="+mn-lt"/>
              </a:rPr>
              <a:t> used by the Agency</a:t>
            </a:r>
            <a:endParaRPr lang="en-US" sz="2200">
              <a:solidFill>
                <a:schemeClr val="bg1"/>
              </a:solidFill>
              <a:cs typeface="Calibri"/>
            </a:endParaRP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a:solidFill>
                  <a:schemeClr val="bg1"/>
                </a:solidFill>
                <a:ea typeface="+mn-lt"/>
                <a:cs typeface="+mn-lt"/>
              </a:rPr>
              <a:t>Re-assess the procedure on the </a:t>
            </a:r>
            <a:r>
              <a:rPr lang="en-US" sz="2200" b="1">
                <a:solidFill>
                  <a:schemeClr val="bg1"/>
                </a:solidFill>
                <a:ea typeface="+mn-lt"/>
                <a:cs typeface="+mn-lt"/>
              </a:rPr>
              <a:t>use of the reserve lists</a:t>
            </a:r>
            <a:r>
              <a:rPr lang="en-US" sz="2200">
                <a:solidFill>
                  <a:schemeClr val="bg1"/>
                </a:solidFill>
                <a:ea typeface="+mn-lt"/>
                <a:cs typeface="+mn-lt"/>
              </a:rPr>
              <a:t> to allow for more diversity within the Agency, while respecting the legal requirements</a:t>
            </a:r>
          </a:p>
          <a:p>
            <a:pPr marL="457200" indent="-457200" algn="just">
              <a:buFont typeface="Arial"/>
              <a:buChar char="•"/>
            </a:pPr>
            <a:endParaRPr lang="en-US" sz="1000">
              <a:solidFill>
                <a:schemeClr val="bg1"/>
              </a:solidFill>
              <a:ea typeface="+mn-lt"/>
              <a:cs typeface="+mn-lt"/>
            </a:endParaRPr>
          </a:p>
          <a:p>
            <a:pPr marL="457200" indent="-457200" algn="just">
              <a:buFont typeface="Arial"/>
              <a:buChar char="•"/>
            </a:pPr>
            <a:r>
              <a:rPr lang="en-US" sz="2200" b="1">
                <a:solidFill>
                  <a:schemeClr val="bg1"/>
                </a:solidFill>
                <a:ea typeface="+mn-lt"/>
                <a:cs typeface="+mn-lt"/>
              </a:rPr>
              <a:t>Mentorship program </a:t>
            </a:r>
            <a:r>
              <a:rPr lang="en-US" sz="2200">
                <a:solidFill>
                  <a:schemeClr val="bg1"/>
                </a:solidFill>
                <a:ea typeface="+mn-lt"/>
                <a:cs typeface="+mn-lt"/>
              </a:rPr>
              <a:t>for female staff members, linked to career path development</a:t>
            </a:r>
            <a:endParaRPr lang="en-US" sz="2200">
              <a:solidFill>
                <a:schemeClr val="bg1"/>
              </a:solidFill>
              <a:cs typeface="Calibri" panose="020F0502020204030204"/>
            </a:endParaRPr>
          </a:p>
          <a:p>
            <a:pPr marL="457200" indent="-457200" algn="just">
              <a:buFont typeface="Arial"/>
              <a:buChar char="•"/>
            </a:pPr>
            <a:endParaRPr lang="en-US" sz="2200">
              <a:solidFill>
                <a:schemeClr val="bg1"/>
              </a:solidFill>
              <a:ea typeface="+mn-lt"/>
              <a:cs typeface="+mn-lt"/>
            </a:endParaRPr>
          </a:p>
          <a:p>
            <a:pPr marL="457200" indent="-457200" algn="just">
              <a:buFont typeface="Arial"/>
              <a:buChar char="•"/>
            </a:pPr>
            <a:endParaRPr lang="en-US" sz="1000">
              <a:solidFill>
                <a:schemeClr val="bg1"/>
              </a:solidFill>
              <a:cs typeface="Calibri"/>
            </a:endParaRPr>
          </a:p>
        </p:txBody>
      </p:sp>
    </p:spTree>
    <p:extLst>
      <p:ext uri="{BB962C8B-B14F-4D97-AF65-F5344CB8AC3E}">
        <p14:creationId xmlns:p14="http://schemas.microsoft.com/office/powerpoint/2010/main" val="15708449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8226CC0-EFFA-878B-53DA-15FF92B7731E}"/>
              </a:ext>
            </a:extLst>
          </p:cNvPr>
          <p:cNvSpPr txBox="1">
            <a:spLocks/>
          </p:cNvSpPr>
          <p:nvPr/>
        </p:nvSpPr>
        <p:spPr>
          <a:xfrm>
            <a:off x="5853859" y="142875"/>
            <a:ext cx="6183360" cy="12732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kern="1200">
                <a:solidFill>
                  <a:schemeClr val="bg2"/>
                </a:solidFill>
                <a:latin typeface="+mj-lt"/>
                <a:ea typeface="+mj-ea"/>
                <a:cs typeface="+mj-cs"/>
              </a:defRPr>
            </a:lvl1pPr>
          </a:lstStyle>
          <a:p>
            <a:pPr algn="r"/>
            <a:r>
              <a:rPr lang="fr-BE" sz="4000" err="1">
                <a:solidFill>
                  <a:schemeClr val="bg1"/>
                </a:solidFill>
              </a:rPr>
              <a:t>Fostering</a:t>
            </a:r>
            <a:r>
              <a:rPr lang="fr-BE" sz="4000">
                <a:solidFill>
                  <a:schemeClr val="bg1"/>
                </a:solidFill>
              </a:rPr>
              <a:t> change @ERA</a:t>
            </a:r>
            <a:endParaRPr lang="en-US">
              <a:solidFill>
                <a:schemeClr val="bg1"/>
              </a:solidFill>
            </a:endParaRPr>
          </a:p>
        </p:txBody>
      </p:sp>
      <p:sp>
        <p:nvSpPr>
          <p:cNvPr id="8" name="TextBox 7">
            <a:extLst>
              <a:ext uri="{FF2B5EF4-FFF2-40B4-BE49-F238E27FC236}">
                <a16:creationId xmlns:a16="http://schemas.microsoft.com/office/drawing/2014/main" id="{E96CAF90-D2A5-38D3-5E8D-017602099031}"/>
              </a:ext>
            </a:extLst>
          </p:cNvPr>
          <p:cNvSpPr txBox="1"/>
          <p:nvPr/>
        </p:nvSpPr>
        <p:spPr>
          <a:xfrm>
            <a:off x="1397876" y="1866900"/>
            <a:ext cx="10415505" cy="52937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200" b="1">
                <a:solidFill>
                  <a:srgbClr val="FFFF00"/>
                </a:solidFill>
                <a:cs typeface="Calibri" panose="020F0502020204030204"/>
              </a:rPr>
              <a:t>WORKPLACE CULTURE</a:t>
            </a:r>
          </a:p>
          <a:p>
            <a:pPr algn="just"/>
            <a:endParaRPr lang="en-US" sz="2200" b="1">
              <a:solidFill>
                <a:srgbClr val="FFFF00"/>
              </a:solidFill>
              <a:cs typeface="Calibri" panose="020F0502020204030204"/>
            </a:endParaRPr>
          </a:p>
          <a:p>
            <a:pPr marL="457200" indent="-457200" algn="just">
              <a:buFont typeface="Arial"/>
              <a:buChar char="•"/>
            </a:pPr>
            <a:r>
              <a:rPr lang="en-US" sz="2200" err="1">
                <a:solidFill>
                  <a:schemeClr val="bg1"/>
                </a:solidFill>
                <a:ea typeface="+mn-lt"/>
                <a:cs typeface="+mn-lt"/>
              </a:rPr>
              <a:t>Organisational</a:t>
            </a:r>
            <a:r>
              <a:rPr lang="en-US" sz="2200">
                <a:solidFill>
                  <a:schemeClr val="bg1"/>
                </a:solidFill>
                <a:ea typeface="+mn-lt"/>
                <a:cs typeface="+mn-lt"/>
              </a:rPr>
              <a:t> culture sensitive to </a:t>
            </a:r>
            <a:r>
              <a:rPr lang="en-US" sz="2200" b="1">
                <a:solidFill>
                  <a:schemeClr val="bg1"/>
                </a:solidFill>
                <a:ea typeface="+mn-lt"/>
                <a:cs typeface="+mn-lt"/>
              </a:rPr>
              <a:t>diversity; (non)acceptable </a:t>
            </a:r>
            <a:r>
              <a:rPr lang="en-US" sz="2200" b="1" err="1">
                <a:solidFill>
                  <a:schemeClr val="bg1"/>
                </a:solidFill>
                <a:ea typeface="+mn-lt"/>
                <a:cs typeface="+mn-lt"/>
              </a:rPr>
              <a:t>behaviours</a:t>
            </a:r>
            <a:r>
              <a:rPr lang="en-US" sz="2200" b="1">
                <a:solidFill>
                  <a:schemeClr val="bg1"/>
                </a:solidFill>
                <a:ea typeface="+mn-lt"/>
                <a:cs typeface="+mn-lt"/>
              </a:rPr>
              <a:t> </a:t>
            </a:r>
            <a:r>
              <a:rPr lang="en-US" sz="2200">
                <a:solidFill>
                  <a:schemeClr val="bg1"/>
                </a:solidFill>
                <a:ea typeface="+mn-lt"/>
                <a:cs typeface="+mn-lt"/>
              </a:rPr>
              <a:t>clearly identified</a:t>
            </a:r>
            <a:endParaRPr lang="en-US" sz="2200" b="1">
              <a:solidFill>
                <a:schemeClr val="bg1"/>
              </a:solidFill>
              <a:ea typeface="+mn-lt"/>
              <a:cs typeface="+mn-lt"/>
            </a:endParaRPr>
          </a:p>
          <a:p>
            <a:pPr marL="457200" indent="-457200" algn="just">
              <a:buFont typeface="Arial"/>
              <a:buChar char="•"/>
            </a:pPr>
            <a:endParaRPr lang="en-US" sz="1000" b="1">
              <a:solidFill>
                <a:schemeClr val="bg1"/>
              </a:solidFill>
              <a:ea typeface="+mn-lt"/>
              <a:cs typeface="+mn-lt"/>
            </a:endParaRPr>
          </a:p>
          <a:p>
            <a:pPr marL="457200" indent="-457200" algn="just">
              <a:buFont typeface="Arial"/>
              <a:buChar char="•"/>
            </a:pPr>
            <a:r>
              <a:rPr lang="en-US" sz="2200">
                <a:solidFill>
                  <a:schemeClr val="bg1"/>
                </a:solidFill>
                <a:ea typeface="+mn-lt"/>
                <a:cs typeface="+mn-lt"/>
              </a:rPr>
              <a:t>Proper conditions for </a:t>
            </a:r>
            <a:r>
              <a:rPr lang="en-US" sz="2200" b="1">
                <a:solidFill>
                  <a:schemeClr val="bg1"/>
                </a:solidFill>
                <a:ea typeface="+mn-lt"/>
                <a:cs typeface="+mn-lt"/>
              </a:rPr>
              <a:t>work-life balance</a:t>
            </a:r>
          </a:p>
          <a:p>
            <a:pPr marL="457200" indent="-457200" algn="just">
              <a:buFont typeface="Arial"/>
              <a:buChar char="•"/>
            </a:pPr>
            <a:endParaRPr lang="en-US" sz="1000" b="1">
              <a:solidFill>
                <a:schemeClr val="bg1"/>
              </a:solidFill>
              <a:ea typeface="+mn-lt"/>
              <a:cs typeface="+mn-lt"/>
            </a:endParaRPr>
          </a:p>
          <a:p>
            <a:pPr marL="457200" indent="-457200" algn="just">
              <a:buFont typeface="Arial"/>
              <a:buChar char="•"/>
            </a:pPr>
            <a:r>
              <a:rPr lang="en-US" sz="2200">
                <a:solidFill>
                  <a:schemeClr val="bg1"/>
                </a:solidFill>
                <a:cs typeface="Calibri"/>
              </a:rPr>
              <a:t>I</a:t>
            </a:r>
            <a:r>
              <a:rPr lang="en-US" sz="2200" b="1">
                <a:solidFill>
                  <a:schemeClr val="bg1"/>
                </a:solidFill>
                <a:cs typeface="Calibri"/>
              </a:rPr>
              <a:t>nclusive language and images</a:t>
            </a:r>
            <a:r>
              <a:rPr lang="en-US" sz="2200">
                <a:solidFill>
                  <a:schemeClr val="bg1"/>
                </a:solidFill>
                <a:cs typeface="Calibri"/>
              </a:rPr>
              <a:t> reflecting staff and sector diversity</a:t>
            </a: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b="1">
                <a:solidFill>
                  <a:schemeClr val="bg1"/>
                </a:solidFill>
                <a:cs typeface="Calibri"/>
              </a:rPr>
              <a:t>Gender balanced panels of speakers</a:t>
            </a:r>
            <a:r>
              <a:rPr lang="en-US" sz="2200">
                <a:solidFill>
                  <a:schemeClr val="bg1"/>
                </a:solidFill>
                <a:cs typeface="Calibri"/>
              </a:rPr>
              <a:t> for the ERA-organised events</a:t>
            </a: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a:solidFill>
                  <a:schemeClr val="bg1"/>
                </a:solidFill>
                <a:cs typeface="Calibri"/>
              </a:rPr>
              <a:t>Fostering ERA female staff </a:t>
            </a:r>
            <a:r>
              <a:rPr lang="en-US" sz="2200" b="1">
                <a:solidFill>
                  <a:schemeClr val="bg1"/>
                </a:solidFill>
                <a:cs typeface="Calibri"/>
              </a:rPr>
              <a:t>attendance as speakers</a:t>
            </a:r>
            <a:r>
              <a:rPr lang="en-US" sz="2200">
                <a:solidFill>
                  <a:schemeClr val="bg1"/>
                </a:solidFill>
                <a:cs typeface="Calibri"/>
              </a:rPr>
              <a:t> at external events</a:t>
            </a:r>
          </a:p>
          <a:p>
            <a:pPr marL="457200" indent="-457200" algn="just">
              <a:buFont typeface="Arial"/>
              <a:buChar char="•"/>
            </a:pPr>
            <a:endParaRPr lang="en-US" sz="1000">
              <a:solidFill>
                <a:schemeClr val="bg1"/>
              </a:solidFill>
              <a:cs typeface="Calibri"/>
            </a:endParaRPr>
          </a:p>
          <a:p>
            <a:pPr marL="457200" indent="-457200" algn="just">
              <a:buFont typeface="Arial"/>
              <a:buChar char="•"/>
            </a:pPr>
            <a:r>
              <a:rPr lang="en-US" sz="2200">
                <a:solidFill>
                  <a:schemeClr val="bg1"/>
                </a:solidFill>
                <a:cs typeface="Calibri"/>
              </a:rPr>
              <a:t>Attention to </a:t>
            </a:r>
            <a:r>
              <a:rPr lang="en-US" sz="2200" b="1">
                <a:solidFill>
                  <a:schemeClr val="bg1"/>
                </a:solidFill>
                <a:cs typeface="Calibri"/>
              </a:rPr>
              <a:t>gender balance </a:t>
            </a:r>
            <a:r>
              <a:rPr lang="en-US" sz="2200">
                <a:solidFill>
                  <a:schemeClr val="bg1"/>
                </a:solidFill>
                <a:cs typeface="Calibri"/>
              </a:rPr>
              <a:t>for the membership of the Management Board</a:t>
            </a:r>
          </a:p>
          <a:p>
            <a:pPr marL="457200" indent="-457200" algn="just">
              <a:buFont typeface="Arial"/>
              <a:buChar char="•"/>
            </a:pPr>
            <a:endParaRPr lang="en-US" sz="2200">
              <a:solidFill>
                <a:schemeClr val="bg1"/>
              </a:solidFill>
              <a:cs typeface="Calibri"/>
            </a:endParaRPr>
          </a:p>
          <a:p>
            <a:pPr algn="just"/>
            <a:endParaRPr lang="en-US" sz="2400" b="1">
              <a:solidFill>
                <a:schemeClr val="bg1"/>
              </a:solidFill>
              <a:cs typeface="Calibri" panose="020F0502020204030204"/>
            </a:endParaRPr>
          </a:p>
          <a:p>
            <a:pPr marL="457200" indent="-457200" algn="just">
              <a:buFont typeface="Arial"/>
              <a:buChar char="•"/>
            </a:pPr>
            <a:endParaRPr lang="en-US" sz="2200">
              <a:solidFill>
                <a:schemeClr val="bg1"/>
              </a:solidFill>
              <a:ea typeface="+mn-lt"/>
              <a:cs typeface="+mn-lt"/>
            </a:endParaRPr>
          </a:p>
          <a:p>
            <a:pPr marL="457200" indent="-457200" algn="just">
              <a:buFont typeface="Arial"/>
              <a:buChar char="•"/>
            </a:pPr>
            <a:endParaRPr lang="en-US" sz="1000">
              <a:solidFill>
                <a:schemeClr val="bg1"/>
              </a:solidFill>
              <a:cs typeface="Calibri"/>
            </a:endParaRPr>
          </a:p>
        </p:txBody>
      </p:sp>
    </p:spTree>
    <p:extLst>
      <p:ext uri="{BB962C8B-B14F-4D97-AF65-F5344CB8AC3E}">
        <p14:creationId xmlns:p14="http://schemas.microsoft.com/office/powerpoint/2010/main" val="2520020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D7B90-D442-4339-B603-10AE10E71FF8}"/>
              </a:ext>
            </a:extLst>
          </p:cNvPr>
          <p:cNvSpPr>
            <a:spLocks noGrp="1"/>
          </p:cNvSpPr>
          <p:nvPr>
            <p:ph type="title"/>
          </p:nvPr>
        </p:nvSpPr>
        <p:spPr>
          <a:xfrm>
            <a:off x="9716876" y="11017"/>
            <a:ext cx="2431055" cy="1273215"/>
          </a:xfrm>
        </p:spPr>
        <p:txBody>
          <a:bodyPr>
            <a:normAutofit/>
          </a:bodyPr>
          <a:lstStyle/>
          <a:p>
            <a:pPr algn="r"/>
            <a:r>
              <a:rPr lang="fr-BE" sz="4000">
                <a:solidFill>
                  <a:schemeClr val="bg1"/>
                </a:solidFill>
                <a:latin typeface="Calibri Body"/>
              </a:rPr>
              <a:t>Speakers</a:t>
            </a:r>
            <a:endParaRPr lang="en-GB" sz="4000">
              <a:solidFill>
                <a:schemeClr val="bg1"/>
              </a:solidFill>
              <a:latin typeface="Calibri Body"/>
            </a:endParaRPr>
          </a:p>
        </p:txBody>
      </p:sp>
      <p:graphicFrame>
        <p:nvGraphicFramePr>
          <p:cNvPr id="4" name="Content Placeholder 3">
            <a:extLst>
              <a:ext uri="{FF2B5EF4-FFF2-40B4-BE49-F238E27FC236}">
                <a16:creationId xmlns:a16="http://schemas.microsoft.com/office/drawing/2014/main" id="{2B675608-214B-4E67-B5D0-E2AA524F9630}"/>
              </a:ext>
            </a:extLst>
          </p:cNvPr>
          <p:cNvGraphicFramePr>
            <a:graphicFrameLocks noGrp="1"/>
          </p:cNvGraphicFramePr>
          <p:nvPr>
            <p:ph idx="4294967295"/>
            <p:extLst>
              <p:ext uri="{D42A27DB-BD31-4B8C-83A1-F6EECF244321}">
                <p14:modId xmlns:p14="http://schemas.microsoft.com/office/powerpoint/2010/main" val="4073007126"/>
              </p:ext>
            </p:extLst>
          </p:nvPr>
        </p:nvGraphicFramePr>
        <p:xfrm>
          <a:off x="581025" y="1106488"/>
          <a:ext cx="11610975" cy="56784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Graphic 4">
            <a:extLst>
              <a:ext uri="{FF2B5EF4-FFF2-40B4-BE49-F238E27FC236}">
                <a16:creationId xmlns:a16="http://schemas.microsoft.com/office/drawing/2014/main" id="{C3DD7ADD-B2DB-4087-AE65-69B9FF2067F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67928" y="903605"/>
            <a:ext cx="1530235" cy="1530235"/>
          </a:xfrm>
          <a:prstGeom prst="rect">
            <a:avLst/>
          </a:prstGeom>
        </p:spPr>
      </p:pic>
      <p:pic>
        <p:nvPicPr>
          <p:cNvPr id="3" name="Graphic 2">
            <a:extLst>
              <a:ext uri="{FF2B5EF4-FFF2-40B4-BE49-F238E27FC236}">
                <a16:creationId xmlns:a16="http://schemas.microsoft.com/office/drawing/2014/main" id="{6F627F9D-1F70-DF90-E219-BBE322CA52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11523" y="1711107"/>
            <a:ext cx="1530235" cy="1530235"/>
          </a:xfrm>
          <a:prstGeom prst="rect">
            <a:avLst/>
          </a:prstGeom>
        </p:spPr>
      </p:pic>
      <p:pic>
        <p:nvPicPr>
          <p:cNvPr id="6" name="Graphic 5">
            <a:extLst>
              <a:ext uri="{FF2B5EF4-FFF2-40B4-BE49-F238E27FC236}">
                <a16:creationId xmlns:a16="http://schemas.microsoft.com/office/drawing/2014/main" id="{C4FB712E-FACD-942E-9DD3-08B9AA10B4A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55118" y="2482670"/>
            <a:ext cx="1530235" cy="1530235"/>
          </a:xfrm>
          <a:prstGeom prst="rect">
            <a:avLst/>
          </a:prstGeom>
        </p:spPr>
      </p:pic>
      <p:pic>
        <p:nvPicPr>
          <p:cNvPr id="7" name="Graphic 6">
            <a:extLst>
              <a:ext uri="{FF2B5EF4-FFF2-40B4-BE49-F238E27FC236}">
                <a16:creationId xmlns:a16="http://schemas.microsoft.com/office/drawing/2014/main" id="{BB10D9BF-4911-9429-5D5B-2BA688E7FB2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55117" y="3276267"/>
            <a:ext cx="1530235" cy="1530235"/>
          </a:xfrm>
          <a:prstGeom prst="rect">
            <a:avLst/>
          </a:prstGeom>
        </p:spPr>
      </p:pic>
      <p:pic>
        <p:nvPicPr>
          <p:cNvPr id="9" name="Picture 8" descr="A blue and white logo&#10;&#10;Description automatically generated with low confidence">
            <a:extLst>
              <a:ext uri="{FF2B5EF4-FFF2-40B4-BE49-F238E27FC236}">
                <a16:creationId xmlns:a16="http://schemas.microsoft.com/office/drawing/2014/main" id="{C7DB0A92-56F5-2B30-063E-68625E59E97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5117" y="6171581"/>
            <a:ext cx="1611411" cy="505673"/>
          </a:xfrm>
          <a:prstGeom prst="rect">
            <a:avLst/>
          </a:prstGeom>
        </p:spPr>
      </p:pic>
      <p:pic>
        <p:nvPicPr>
          <p:cNvPr id="10" name="Graphic 9">
            <a:extLst>
              <a:ext uri="{FF2B5EF4-FFF2-40B4-BE49-F238E27FC236}">
                <a16:creationId xmlns:a16="http://schemas.microsoft.com/office/drawing/2014/main" id="{647E014C-82E7-2F53-1741-812D9011D1E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95704" y="4077208"/>
            <a:ext cx="1530235" cy="1530235"/>
          </a:xfrm>
          <a:prstGeom prst="rect">
            <a:avLst/>
          </a:prstGeom>
        </p:spPr>
      </p:pic>
      <p:pic>
        <p:nvPicPr>
          <p:cNvPr id="11" name="Graphic 10">
            <a:extLst>
              <a:ext uri="{FF2B5EF4-FFF2-40B4-BE49-F238E27FC236}">
                <a16:creationId xmlns:a16="http://schemas.microsoft.com/office/drawing/2014/main" id="{D27C5989-B5A4-53D3-1203-74C45751034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15360" y="4875404"/>
            <a:ext cx="1530235" cy="1530235"/>
          </a:xfrm>
          <a:prstGeom prst="rect">
            <a:avLst/>
          </a:prstGeom>
        </p:spPr>
      </p:pic>
    </p:spTree>
    <p:extLst>
      <p:ext uri="{BB962C8B-B14F-4D97-AF65-F5344CB8AC3E}">
        <p14:creationId xmlns:p14="http://schemas.microsoft.com/office/powerpoint/2010/main" val="35169840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0B72F-1C9F-AC1F-3524-DC84926030C8}"/>
              </a:ext>
            </a:extLst>
          </p:cNvPr>
          <p:cNvSpPr>
            <a:spLocks noGrp="1"/>
          </p:cNvSpPr>
          <p:nvPr>
            <p:ph type="ctrTitle"/>
          </p:nvPr>
        </p:nvSpPr>
        <p:spPr>
          <a:xfrm>
            <a:off x="429515" y="1554383"/>
            <a:ext cx="6347524" cy="1032592"/>
          </a:xfrm>
        </p:spPr>
        <p:txBody>
          <a:bodyPr vert="horz" lIns="91440" tIns="45720" rIns="91440" bIns="45720" rtlCol="0" anchor="b">
            <a:noAutofit/>
          </a:bodyPr>
          <a:lstStyle/>
          <a:p>
            <a:pPr algn="l"/>
            <a:r>
              <a:rPr lang="en-US">
                <a:solidFill>
                  <a:schemeClr val="bg1"/>
                </a:solidFill>
                <a:latin typeface="Calibri Body"/>
              </a:rPr>
              <a:t>Panel discussion</a:t>
            </a:r>
          </a:p>
        </p:txBody>
      </p:sp>
      <p:pic>
        <p:nvPicPr>
          <p:cNvPr id="8" name="Picture Placeholder 7" descr="A picture containing person, indoor, silhouette&#10;&#10;Description automatically generated">
            <a:extLst>
              <a:ext uri="{FF2B5EF4-FFF2-40B4-BE49-F238E27FC236}">
                <a16:creationId xmlns:a16="http://schemas.microsoft.com/office/drawing/2014/main" id="{C4515A18-A01A-537E-3D82-38AF1C3BAC7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8423" r="28423"/>
          <a:stretch>
            <a:fillRect/>
          </a:stretch>
        </p:blipFill>
        <p:spPr>
          <a:xfrm>
            <a:off x="7756525" y="0"/>
            <a:ext cx="4435475" cy="6858000"/>
          </a:xfrm>
        </p:spPr>
      </p:pic>
      <p:sp>
        <p:nvSpPr>
          <p:cNvPr id="3" name="TextBox 2">
            <a:extLst>
              <a:ext uri="{FF2B5EF4-FFF2-40B4-BE49-F238E27FC236}">
                <a16:creationId xmlns:a16="http://schemas.microsoft.com/office/drawing/2014/main" id="{0B0D7909-4064-EEC6-9A42-D682F6F990BB}"/>
              </a:ext>
            </a:extLst>
          </p:cNvPr>
          <p:cNvSpPr txBox="1"/>
          <p:nvPr/>
        </p:nvSpPr>
        <p:spPr>
          <a:xfrm>
            <a:off x="424015" y="2765322"/>
            <a:ext cx="3578941"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chemeClr val="bg1"/>
                </a:solidFill>
                <a:cs typeface="Calibri"/>
              </a:rPr>
              <a:t>Chair </a:t>
            </a:r>
            <a:endParaRPr lang="en-US" sz="2400">
              <a:solidFill>
                <a:schemeClr val="bg1"/>
              </a:solidFill>
              <a:cs typeface="Calibri"/>
            </a:endParaRPr>
          </a:p>
          <a:p>
            <a:pPr marL="342900" indent="-342900">
              <a:buFont typeface="Arial"/>
              <a:buChar char="•"/>
            </a:pPr>
            <a:r>
              <a:rPr lang="en-US" sz="2400">
                <a:solidFill>
                  <a:schemeClr val="bg1"/>
                </a:solidFill>
                <a:cs typeface="Calibri"/>
              </a:rPr>
              <a:t>Clio </a:t>
            </a:r>
            <a:r>
              <a:rPr lang="en-US" sz="2400" err="1">
                <a:solidFill>
                  <a:schemeClr val="bg1"/>
                </a:solidFill>
                <a:cs typeface="Calibri"/>
              </a:rPr>
              <a:t>Liégeois</a:t>
            </a:r>
            <a:endParaRPr lang="en-US" sz="2400">
              <a:solidFill>
                <a:schemeClr val="bg1"/>
              </a:solidFill>
              <a:cs typeface="Calibri"/>
            </a:endParaRPr>
          </a:p>
          <a:p>
            <a:r>
              <a:rPr lang="en-US" sz="2400" b="1">
                <a:solidFill>
                  <a:schemeClr val="bg1"/>
                </a:solidFill>
                <a:cs typeface="Calibri"/>
              </a:rPr>
              <a:t>Participants</a:t>
            </a:r>
          </a:p>
          <a:p>
            <a:pPr marL="342900" indent="-342900">
              <a:buFont typeface="Arial"/>
              <a:buChar char="•"/>
            </a:pPr>
            <a:r>
              <a:rPr lang="en-US" sz="2400">
                <a:solidFill>
                  <a:schemeClr val="bg1"/>
                </a:solidFill>
                <a:cs typeface="Calibri"/>
              </a:rPr>
              <a:t>Anna Gigantino</a:t>
            </a:r>
          </a:p>
          <a:p>
            <a:pPr marL="342900" indent="-342900">
              <a:buFont typeface="Arial"/>
              <a:buChar char="•"/>
            </a:pPr>
            <a:r>
              <a:rPr lang="en-US" sz="2400">
                <a:solidFill>
                  <a:schemeClr val="bg1"/>
                </a:solidFill>
                <a:cs typeface="Calibri"/>
              </a:rPr>
              <a:t>Oana </a:t>
            </a:r>
            <a:r>
              <a:rPr lang="en-US" sz="2400" err="1">
                <a:solidFill>
                  <a:schemeClr val="bg1"/>
                </a:solidFill>
                <a:cs typeface="Calibri"/>
              </a:rPr>
              <a:t>Gherghinescu</a:t>
            </a:r>
            <a:endParaRPr lang="en-US" sz="2400">
              <a:solidFill>
                <a:schemeClr val="bg1"/>
              </a:solidFill>
              <a:cs typeface="Calibri"/>
            </a:endParaRPr>
          </a:p>
          <a:p>
            <a:pPr marL="342900" indent="-342900">
              <a:buFont typeface="Arial"/>
              <a:buChar char="•"/>
            </a:pPr>
            <a:r>
              <a:rPr lang="en-GB" sz="2400">
                <a:solidFill>
                  <a:schemeClr val="bg1"/>
                </a:solidFill>
                <a:cs typeface="Calibri"/>
              </a:rPr>
              <a:t>Paloma </a:t>
            </a:r>
            <a:r>
              <a:rPr lang="en-GB" sz="2400" err="1">
                <a:solidFill>
                  <a:schemeClr val="bg1"/>
                </a:solidFill>
                <a:cs typeface="Calibri"/>
              </a:rPr>
              <a:t>Iribas</a:t>
            </a:r>
            <a:r>
              <a:rPr lang="en-GB" sz="2400">
                <a:solidFill>
                  <a:schemeClr val="bg1"/>
                </a:solidFill>
                <a:cs typeface="Calibri"/>
              </a:rPr>
              <a:t> </a:t>
            </a:r>
            <a:r>
              <a:rPr lang="en-GB" sz="2400" err="1">
                <a:solidFill>
                  <a:schemeClr val="bg1"/>
                </a:solidFill>
                <a:cs typeface="Calibri"/>
              </a:rPr>
              <a:t>Forcat</a:t>
            </a:r>
            <a:endParaRPr lang="en-US" sz="2400">
              <a:solidFill>
                <a:schemeClr val="bg1"/>
              </a:solidFill>
              <a:cs typeface="Calibri"/>
            </a:endParaRPr>
          </a:p>
          <a:p>
            <a:pPr marL="342900" indent="-342900">
              <a:buFont typeface="Arial"/>
              <a:buChar char="•"/>
            </a:pPr>
            <a:r>
              <a:rPr lang="en-GB" sz="2400">
                <a:solidFill>
                  <a:schemeClr val="bg1"/>
                </a:solidFill>
                <a:cs typeface="Calibri"/>
              </a:rPr>
              <a:t>Alice </a:t>
            </a:r>
            <a:r>
              <a:rPr lang="en-GB" sz="2400" err="1">
                <a:solidFill>
                  <a:schemeClr val="bg1"/>
                </a:solidFill>
                <a:cs typeface="Calibri"/>
              </a:rPr>
              <a:t>Consilvio</a:t>
            </a:r>
            <a:endParaRPr lang="en-GB" sz="2400">
              <a:solidFill>
                <a:schemeClr val="bg1"/>
              </a:solidFill>
              <a:cs typeface="Calibri"/>
            </a:endParaRPr>
          </a:p>
          <a:p>
            <a:endParaRPr lang="en-US" sz="2400">
              <a:solidFill>
                <a:schemeClr val="bg1"/>
              </a:solidFill>
              <a:cs typeface="Calibri"/>
            </a:endParaRPr>
          </a:p>
        </p:txBody>
      </p:sp>
      <p:pic>
        <p:nvPicPr>
          <p:cNvPr id="10" name="Picture 5" descr="Logo&#10;&#10;Description automatically generated">
            <a:extLst>
              <a:ext uri="{FF2B5EF4-FFF2-40B4-BE49-F238E27FC236}">
                <a16:creationId xmlns:a16="http://schemas.microsoft.com/office/drawing/2014/main" id="{F35D00F3-9730-5640-9168-4E3B1991DA60}"/>
              </a:ext>
            </a:extLst>
          </p:cNvPr>
          <p:cNvPicPr>
            <a:picLocks noChangeAspect="1"/>
          </p:cNvPicPr>
          <p:nvPr/>
        </p:nvPicPr>
        <p:blipFill>
          <a:blip r:embed="rId3"/>
          <a:stretch>
            <a:fillRect/>
          </a:stretch>
        </p:blipFill>
        <p:spPr>
          <a:xfrm>
            <a:off x="3896548" y="2709525"/>
            <a:ext cx="2912533" cy="2981770"/>
          </a:xfrm>
          <a:prstGeom prst="rect">
            <a:avLst/>
          </a:prstGeom>
        </p:spPr>
      </p:pic>
    </p:spTree>
    <p:extLst>
      <p:ext uri="{BB962C8B-B14F-4D97-AF65-F5344CB8AC3E}">
        <p14:creationId xmlns:p14="http://schemas.microsoft.com/office/powerpoint/2010/main" val="3158965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FA3EA-194D-8640-8E6E-F51FBDCA8AA1}"/>
              </a:ext>
            </a:extLst>
          </p:cNvPr>
          <p:cNvSpPr>
            <a:spLocks noGrp="1"/>
          </p:cNvSpPr>
          <p:nvPr>
            <p:ph type="ctrTitle"/>
          </p:nvPr>
        </p:nvSpPr>
        <p:spPr>
          <a:xfrm>
            <a:off x="1" y="1210371"/>
            <a:ext cx="12191999" cy="2479675"/>
          </a:xfrm>
        </p:spPr>
        <p:txBody>
          <a:bodyPr>
            <a:normAutofit/>
          </a:bodyPr>
          <a:lstStyle/>
          <a:p>
            <a:r>
              <a:rPr lang="en-US" sz="5400"/>
              <a:t>The EU project STAFFER,</a:t>
            </a:r>
            <a:r>
              <a:rPr lang="en-US" sz="4000"/>
              <a:t> </a:t>
            </a:r>
            <a:br>
              <a:rPr lang="en-US" sz="4000"/>
            </a:br>
            <a:r>
              <a:rPr lang="en-US" sz="3800"/>
              <a:t>Skill Training Alliance For the Future European Rail system</a:t>
            </a:r>
            <a:br>
              <a:rPr lang="en-US"/>
            </a:br>
            <a:endParaRPr lang="en-US"/>
          </a:p>
        </p:txBody>
      </p:sp>
      <p:sp>
        <p:nvSpPr>
          <p:cNvPr id="3" name="Subtitle 2">
            <a:extLst>
              <a:ext uri="{FF2B5EF4-FFF2-40B4-BE49-F238E27FC236}">
                <a16:creationId xmlns:a16="http://schemas.microsoft.com/office/drawing/2014/main" id="{B5932A52-B39B-994D-8F03-2813DA1880B3}"/>
              </a:ext>
            </a:extLst>
          </p:cNvPr>
          <p:cNvSpPr>
            <a:spLocks noGrp="1"/>
          </p:cNvSpPr>
          <p:nvPr>
            <p:ph type="subTitle" idx="1"/>
          </p:nvPr>
        </p:nvSpPr>
        <p:spPr>
          <a:xfrm>
            <a:off x="353878" y="3027945"/>
            <a:ext cx="11484244" cy="1592960"/>
          </a:xfrm>
        </p:spPr>
        <p:txBody>
          <a:bodyPr>
            <a:noAutofit/>
          </a:bodyPr>
          <a:lstStyle/>
          <a:p>
            <a:endParaRPr lang="it-IT" sz="1400">
              <a:solidFill>
                <a:schemeClr val="tx1"/>
              </a:solidFill>
            </a:endParaRPr>
          </a:p>
          <a:p>
            <a:endParaRPr lang="it-IT" sz="2600">
              <a:solidFill>
                <a:schemeClr val="accent6">
                  <a:lumMod val="60000"/>
                  <a:lumOff val="40000"/>
                </a:schemeClr>
              </a:solidFill>
            </a:endParaRPr>
          </a:p>
          <a:p>
            <a:r>
              <a:rPr lang="it-IT" sz="2600">
                <a:solidFill>
                  <a:schemeClr val="accent6">
                    <a:lumMod val="60000"/>
                    <a:lumOff val="40000"/>
                  </a:schemeClr>
                </a:solidFill>
              </a:rPr>
              <a:t>Alice Consilvio, University of Genoa</a:t>
            </a:r>
          </a:p>
          <a:p>
            <a:r>
              <a:rPr lang="it-IT" sz="2600">
                <a:solidFill>
                  <a:schemeClr val="accent6">
                    <a:lumMod val="60000"/>
                    <a:lumOff val="40000"/>
                  </a:schemeClr>
                </a:solidFill>
              </a:rPr>
              <a:t>Project </a:t>
            </a:r>
            <a:r>
              <a:rPr lang="it-IT" sz="2600" err="1">
                <a:solidFill>
                  <a:schemeClr val="accent6">
                    <a:lumMod val="60000"/>
                    <a:lumOff val="40000"/>
                  </a:schemeClr>
                </a:solidFill>
              </a:rPr>
              <a:t>Coordination</a:t>
            </a:r>
            <a:r>
              <a:rPr lang="it-IT" sz="2600">
                <a:solidFill>
                  <a:schemeClr val="accent6">
                    <a:lumMod val="60000"/>
                    <a:lumOff val="40000"/>
                  </a:schemeClr>
                </a:solidFill>
              </a:rPr>
              <a:t> Team</a:t>
            </a:r>
          </a:p>
          <a:p>
            <a:endParaRPr lang="en-US" sz="2000" u="sng"/>
          </a:p>
        </p:txBody>
      </p:sp>
    </p:spTree>
    <p:extLst>
      <p:ext uri="{BB962C8B-B14F-4D97-AF65-F5344CB8AC3E}">
        <p14:creationId xmlns:p14="http://schemas.microsoft.com/office/powerpoint/2010/main" val="2678814083"/>
      </p:ext>
    </p:extLst>
  </p:cSld>
  <p:clrMapOvr>
    <a:masterClrMapping/>
  </p:clrMapOvr>
  <mc:AlternateContent xmlns:mc="http://schemas.openxmlformats.org/markup-compatibility/2006">
    <mc:Choice xmlns:p14="http://schemas.microsoft.com/office/powerpoint/2010/main" Requires="p14">
      <p:transition p14:dur="10" advClick="0" advTm="30000"/>
    </mc:Choice>
    <mc:Fallback>
      <p:transition advClick="0" advTm="3000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2DE1F-963A-48D5-B819-0FD535A25B3C}"/>
              </a:ext>
            </a:extLst>
          </p:cNvPr>
          <p:cNvSpPr>
            <a:spLocks noGrp="1"/>
          </p:cNvSpPr>
          <p:nvPr>
            <p:ph type="title"/>
          </p:nvPr>
        </p:nvSpPr>
        <p:spPr>
          <a:xfrm>
            <a:off x="723900" y="823912"/>
            <a:ext cx="10515600" cy="1325563"/>
          </a:xfrm>
        </p:spPr>
        <p:txBody>
          <a:bodyPr>
            <a:normAutofit/>
          </a:bodyPr>
          <a:lstStyle/>
          <a:p>
            <a:r>
              <a:rPr lang="en-US" sz="3800"/>
              <a:t>Blueprint for rail supply and transport industries</a:t>
            </a:r>
            <a:br>
              <a:rPr lang="en-US"/>
            </a:br>
            <a:endParaRPr lang="en-US" sz="3600" b="1"/>
          </a:p>
        </p:txBody>
      </p:sp>
      <p:sp>
        <p:nvSpPr>
          <p:cNvPr id="3" name="Subtitle 2">
            <a:extLst>
              <a:ext uri="{FF2B5EF4-FFF2-40B4-BE49-F238E27FC236}">
                <a16:creationId xmlns:a16="http://schemas.microsoft.com/office/drawing/2014/main" id="{E9A98CAD-6F0E-4F64-B4E4-66DFF3CEE79F}"/>
              </a:ext>
            </a:extLst>
          </p:cNvPr>
          <p:cNvSpPr>
            <a:spLocks noGrp="1"/>
          </p:cNvSpPr>
          <p:nvPr>
            <p:ph idx="1"/>
          </p:nvPr>
        </p:nvSpPr>
        <p:spPr>
          <a:xfrm>
            <a:off x="838200" y="1743076"/>
            <a:ext cx="10515600" cy="4291012"/>
          </a:xfrm>
        </p:spPr>
        <p:txBody>
          <a:bodyPr>
            <a:noAutofit/>
          </a:bodyPr>
          <a:lstStyle/>
          <a:p>
            <a:pPr marL="0" indent="0" algn="just">
              <a:lnSpc>
                <a:spcPct val="100000"/>
              </a:lnSpc>
              <a:spcBef>
                <a:spcPts val="0"/>
              </a:spcBef>
              <a:buNone/>
            </a:pPr>
            <a:r>
              <a:rPr lang="en-US" sz="2600"/>
              <a:t>STAFFER fosters a new </a:t>
            </a:r>
            <a:r>
              <a:rPr lang="en-US" sz="2600" b="1"/>
              <a:t>strategic approach</a:t>
            </a:r>
            <a:r>
              <a:rPr lang="en-US" sz="2600"/>
              <a:t> </a:t>
            </a:r>
            <a:r>
              <a:rPr lang="en-US" sz="2600" b="1"/>
              <a:t>to rail sectoral cooperation</a:t>
            </a:r>
            <a:r>
              <a:rPr lang="en-US" sz="2600"/>
              <a:t> addressing:</a:t>
            </a:r>
          </a:p>
          <a:p>
            <a:pPr marL="0" indent="0">
              <a:lnSpc>
                <a:spcPct val="100000"/>
              </a:lnSpc>
              <a:spcBef>
                <a:spcPts val="0"/>
              </a:spcBef>
              <a:buNone/>
            </a:pPr>
            <a:endParaRPr lang="en-US" sz="1800"/>
          </a:p>
          <a:p>
            <a:pPr algn="just">
              <a:lnSpc>
                <a:spcPct val="100000"/>
              </a:lnSpc>
              <a:spcBef>
                <a:spcPts val="0"/>
              </a:spcBef>
            </a:pPr>
            <a:r>
              <a:rPr lang="en-US" sz="2600"/>
              <a:t>skills required for </a:t>
            </a:r>
            <a:r>
              <a:rPr lang="en-US" sz="2600" b="1"/>
              <a:t>manufacturing</a:t>
            </a:r>
            <a:r>
              <a:rPr lang="en-US" sz="2600"/>
              <a:t> of </a:t>
            </a:r>
            <a:r>
              <a:rPr lang="en-US" sz="2600" b="1"/>
              <a:t>rail products and services</a:t>
            </a:r>
          </a:p>
          <a:p>
            <a:pPr algn="just">
              <a:lnSpc>
                <a:spcPct val="100000"/>
              </a:lnSpc>
              <a:spcBef>
                <a:spcPts val="0"/>
              </a:spcBef>
            </a:pPr>
            <a:r>
              <a:rPr lang="en-US" sz="2600"/>
              <a:t>skills required for </a:t>
            </a:r>
            <a:r>
              <a:rPr lang="en-US" sz="2600" b="1"/>
              <a:t>rail operation</a:t>
            </a:r>
            <a:r>
              <a:rPr lang="en-US" sz="2600"/>
              <a:t>, </a:t>
            </a:r>
            <a:r>
              <a:rPr lang="en-US" sz="2600" b="1"/>
              <a:t>maintenance</a:t>
            </a:r>
            <a:r>
              <a:rPr lang="en-US" sz="2600"/>
              <a:t> and </a:t>
            </a:r>
            <a:r>
              <a:rPr lang="en-US" sz="2600" b="1"/>
              <a:t>infrastructure management</a:t>
            </a:r>
          </a:p>
          <a:p>
            <a:pPr algn="just">
              <a:lnSpc>
                <a:spcPct val="100000"/>
              </a:lnSpc>
              <a:spcBef>
                <a:spcPts val="0"/>
              </a:spcBef>
            </a:pPr>
            <a:r>
              <a:rPr lang="en-US" sz="2600"/>
              <a:t>ICT skills related to the use of </a:t>
            </a:r>
            <a:r>
              <a:rPr lang="en-US" sz="2600" b="1"/>
              <a:t>digital technologies</a:t>
            </a:r>
            <a:r>
              <a:rPr lang="en-US" sz="2600"/>
              <a:t> </a:t>
            </a:r>
            <a:r>
              <a:rPr lang="en-US" sz="2600" b="1"/>
              <a:t>in the manufacturing of rail products</a:t>
            </a:r>
            <a:r>
              <a:rPr lang="en-US" sz="2600"/>
              <a:t> and </a:t>
            </a:r>
            <a:r>
              <a:rPr lang="en-US" sz="2600" b="1" err="1"/>
              <a:t>digitalisation</a:t>
            </a:r>
            <a:r>
              <a:rPr lang="en-US" sz="2600" b="1"/>
              <a:t> in rail transport</a:t>
            </a:r>
            <a:r>
              <a:rPr lang="en-US" sz="2600"/>
              <a:t> (such as Internet of Things, data analytics, and cybersecurity)</a:t>
            </a:r>
          </a:p>
          <a:p>
            <a:pPr marL="0" indent="0">
              <a:lnSpc>
                <a:spcPct val="100000"/>
              </a:lnSpc>
              <a:spcBef>
                <a:spcPts val="0"/>
              </a:spcBef>
              <a:buNone/>
            </a:pPr>
            <a:endParaRPr lang="en-US" sz="1200"/>
          </a:p>
        </p:txBody>
      </p:sp>
    </p:spTree>
    <p:extLst>
      <p:ext uri="{BB962C8B-B14F-4D97-AF65-F5344CB8AC3E}">
        <p14:creationId xmlns:p14="http://schemas.microsoft.com/office/powerpoint/2010/main" val="320533210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6353040" y="1397286"/>
            <a:ext cx="5564983" cy="4738123"/>
          </a:xfrm>
          <a:prstGeom prst="rect">
            <a:avLst/>
          </a:prstGeom>
          <a:noFill/>
        </p:spPr>
      </p:pic>
      <p:sp>
        <p:nvSpPr>
          <p:cNvPr id="2" name="Title 1">
            <a:extLst>
              <a:ext uri="{FF2B5EF4-FFF2-40B4-BE49-F238E27FC236}">
                <a16:creationId xmlns:a16="http://schemas.microsoft.com/office/drawing/2014/main" id="{4D52DE1F-963A-48D5-B819-0FD535A25B3C}"/>
              </a:ext>
            </a:extLst>
          </p:cNvPr>
          <p:cNvSpPr>
            <a:spLocks noGrp="1"/>
          </p:cNvSpPr>
          <p:nvPr>
            <p:ph type="title"/>
          </p:nvPr>
        </p:nvSpPr>
        <p:spPr/>
        <p:txBody>
          <a:bodyPr/>
          <a:lstStyle/>
          <a:p>
            <a:r>
              <a:rPr lang="en-US"/>
              <a:t>Consortium</a:t>
            </a:r>
            <a:endParaRPr lang="en-US" b="1"/>
          </a:p>
        </p:txBody>
      </p:sp>
      <p:sp>
        <p:nvSpPr>
          <p:cNvPr id="3" name="Subtitle 2">
            <a:extLst>
              <a:ext uri="{FF2B5EF4-FFF2-40B4-BE49-F238E27FC236}">
                <a16:creationId xmlns:a16="http://schemas.microsoft.com/office/drawing/2014/main" id="{E9A98CAD-6F0E-4F64-B4E4-66DFF3CEE79F}"/>
              </a:ext>
            </a:extLst>
          </p:cNvPr>
          <p:cNvSpPr>
            <a:spLocks noGrp="1"/>
          </p:cNvSpPr>
          <p:nvPr>
            <p:ph idx="1"/>
          </p:nvPr>
        </p:nvSpPr>
        <p:spPr>
          <a:xfrm>
            <a:off x="838200" y="1397286"/>
            <a:ext cx="10515600" cy="4399076"/>
          </a:xfrm>
        </p:spPr>
        <p:txBody>
          <a:bodyPr>
            <a:normAutofit fontScale="25000" lnSpcReduction="20000"/>
          </a:bodyPr>
          <a:lstStyle/>
          <a:p>
            <a:pPr marL="0" indent="0">
              <a:buNone/>
            </a:pPr>
            <a:r>
              <a:rPr lang="en-US" sz="8800"/>
              <a:t>The partnership consists of </a:t>
            </a:r>
            <a:r>
              <a:rPr lang="en-US" sz="8800" b="1"/>
              <a:t>31 partners</a:t>
            </a:r>
            <a:r>
              <a:rPr lang="en-US" sz="8800"/>
              <a:t>:</a:t>
            </a:r>
          </a:p>
          <a:p>
            <a:r>
              <a:rPr lang="en-US" sz="8800"/>
              <a:t>6 infrastructure managers/operators </a:t>
            </a:r>
          </a:p>
          <a:p>
            <a:r>
              <a:rPr lang="en-US" sz="8800"/>
              <a:t>8 rail industry suppliers </a:t>
            </a:r>
          </a:p>
          <a:p>
            <a:r>
              <a:rPr lang="en-US" sz="8800"/>
              <a:t>2 organizations </a:t>
            </a:r>
          </a:p>
          <a:p>
            <a:r>
              <a:rPr lang="en-US" sz="8800"/>
              <a:t>a consultant </a:t>
            </a:r>
          </a:p>
          <a:p>
            <a:r>
              <a:rPr lang="en-US" sz="8800"/>
              <a:t>14 educational institutions</a:t>
            </a:r>
          </a:p>
          <a:p>
            <a:pPr marL="0" indent="0">
              <a:buNone/>
            </a:pPr>
            <a:r>
              <a:rPr lang="en-US" sz="3200"/>
              <a:t> </a:t>
            </a:r>
          </a:p>
          <a:p>
            <a:pPr marL="0" indent="0">
              <a:buNone/>
            </a:pPr>
            <a:r>
              <a:rPr lang="en-US" sz="8800"/>
              <a:t>and </a:t>
            </a:r>
            <a:r>
              <a:rPr lang="en-US" sz="8800" b="1"/>
              <a:t>15 associated partners,</a:t>
            </a:r>
          </a:p>
          <a:p>
            <a:pPr marL="0" indent="0">
              <a:buNone/>
            </a:pPr>
            <a:endParaRPr lang="en-US" sz="3200"/>
          </a:p>
          <a:p>
            <a:pPr marL="0" indent="0">
              <a:buNone/>
            </a:pPr>
            <a:r>
              <a:rPr lang="en-US" sz="8000"/>
              <a:t>from </a:t>
            </a:r>
            <a:r>
              <a:rPr lang="en-US" sz="8000" b="1"/>
              <a:t>12 European Countries</a:t>
            </a:r>
            <a:r>
              <a:rPr lang="en-US" sz="8000"/>
              <a:t>: </a:t>
            </a:r>
          </a:p>
          <a:p>
            <a:pPr marL="0" indent="0">
              <a:buNone/>
            </a:pPr>
            <a:r>
              <a:rPr lang="en-US" sz="8000"/>
              <a:t>Austria, Belgium, Czech Republic, France, Germany, </a:t>
            </a:r>
          </a:p>
          <a:p>
            <a:pPr marL="0" indent="0">
              <a:buNone/>
            </a:pPr>
            <a:r>
              <a:rPr lang="en-US" sz="8000"/>
              <a:t>Greece, Italy, Luxembourg, Poland, </a:t>
            </a:r>
          </a:p>
          <a:p>
            <a:pPr marL="0" indent="0">
              <a:buNone/>
            </a:pPr>
            <a:r>
              <a:rPr lang="en-US" sz="8000"/>
              <a:t>Serbia, Slovakia, Spain</a:t>
            </a:r>
          </a:p>
          <a:p>
            <a:pPr algn="l"/>
            <a:endParaRPr lang="en-US"/>
          </a:p>
          <a:p>
            <a:pPr algn="l"/>
            <a:endParaRPr lang="en-US"/>
          </a:p>
        </p:txBody>
      </p:sp>
    </p:spTree>
    <p:extLst>
      <p:ext uri="{BB962C8B-B14F-4D97-AF65-F5344CB8AC3E}">
        <p14:creationId xmlns:p14="http://schemas.microsoft.com/office/powerpoint/2010/main" val="347930480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2DE1F-963A-48D5-B819-0FD535A25B3C}"/>
              </a:ext>
            </a:extLst>
          </p:cNvPr>
          <p:cNvSpPr>
            <a:spLocks noGrp="1"/>
          </p:cNvSpPr>
          <p:nvPr>
            <p:ph type="title"/>
          </p:nvPr>
        </p:nvSpPr>
        <p:spPr/>
        <p:txBody>
          <a:bodyPr/>
          <a:lstStyle/>
          <a:p>
            <a:r>
              <a:rPr lang="en-US" b="1"/>
              <a:t>Already executed activities</a:t>
            </a:r>
          </a:p>
        </p:txBody>
      </p:sp>
      <p:sp>
        <p:nvSpPr>
          <p:cNvPr id="3" name="Subtitle 2">
            <a:extLst>
              <a:ext uri="{FF2B5EF4-FFF2-40B4-BE49-F238E27FC236}">
                <a16:creationId xmlns:a16="http://schemas.microsoft.com/office/drawing/2014/main" id="{E9A98CAD-6F0E-4F64-B4E4-66DFF3CEE79F}"/>
              </a:ext>
            </a:extLst>
          </p:cNvPr>
          <p:cNvSpPr>
            <a:spLocks noGrp="1"/>
          </p:cNvSpPr>
          <p:nvPr>
            <p:ph idx="1"/>
          </p:nvPr>
        </p:nvSpPr>
        <p:spPr>
          <a:xfrm>
            <a:off x="838200" y="1578105"/>
            <a:ext cx="10515600" cy="4259351"/>
          </a:xfrm>
        </p:spPr>
        <p:txBody>
          <a:bodyPr>
            <a:normAutofit fontScale="62500" lnSpcReduction="20000"/>
          </a:bodyPr>
          <a:lstStyle/>
          <a:p>
            <a:pPr algn="just"/>
            <a:r>
              <a:rPr lang="en-GB" sz="4000" b="1"/>
              <a:t>Skill needs identification:</a:t>
            </a:r>
            <a:r>
              <a:rPr lang="en-GB" sz="4000"/>
              <a:t> this phase was aimed at defining, under a unique methodological umbrella, the view of the future rail sector and the relevant skill needs identification. </a:t>
            </a:r>
          </a:p>
          <a:p>
            <a:pPr marL="320675" lvl="1" indent="-231775" algn="just">
              <a:lnSpc>
                <a:spcPct val="110000"/>
              </a:lnSpc>
            </a:pPr>
            <a:r>
              <a:rPr lang="en-GB" sz="4000" b="1"/>
              <a:t>Occupational profiles selection and development of training programmes.</a:t>
            </a:r>
          </a:p>
          <a:p>
            <a:pPr marL="88900" lvl="1" indent="0" algn="just">
              <a:lnSpc>
                <a:spcPct val="110000"/>
              </a:lnSpc>
              <a:buNone/>
            </a:pPr>
            <a:endParaRPr lang="en-GB" sz="4000" b="1"/>
          </a:p>
          <a:p>
            <a:pPr marL="88900" lvl="1" indent="0" algn="just">
              <a:lnSpc>
                <a:spcPct val="110000"/>
              </a:lnSpc>
              <a:buNone/>
            </a:pPr>
            <a:r>
              <a:rPr lang="en-US" sz="5100" b="1">
                <a:solidFill>
                  <a:schemeClr val="accent2"/>
                </a:solidFill>
                <a:latin typeface="+mj-lt"/>
                <a:ea typeface="+mj-ea"/>
                <a:cs typeface="+mj-cs"/>
              </a:rPr>
              <a:t>Current activities</a:t>
            </a:r>
            <a:endParaRPr lang="en-GB" sz="5100" b="1">
              <a:solidFill>
                <a:schemeClr val="accent2"/>
              </a:solidFill>
              <a:latin typeface="+mj-lt"/>
              <a:ea typeface="+mj-ea"/>
              <a:cs typeface="+mj-cs"/>
            </a:endParaRPr>
          </a:p>
          <a:p>
            <a:pPr marL="320675" lvl="1" indent="-231775" algn="just">
              <a:lnSpc>
                <a:spcPct val="110000"/>
              </a:lnSpc>
            </a:pPr>
            <a:r>
              <a:rPr lang="en-GB" sz="4000" b="1"/>
              <a:t>Mobility and training programmes implementation and validation:</a:t>
            </a:r>
            <a:r>
              <a:rPr lang="en-GB" sz="4000"/>
              <a:t> this activity is aimed at implementing and validating the mobility and training programmes to cope with the skill needs.</a:t>
            </a:r>
          </a:p>
          <a:p>
            <a:pPr marL="320675" lvl="1" indent="-231775" algn="just">
              <a:lnSpc>
                <a:spcPct val="110000"/>
              </a:lnSpc>
            </a:pPr>
            <a:r>
              <a:rPr lang="en-US" sz="4000" b="1"/>
              <a:t>Definition and implementation of a rail sector strategy</a:t>
            </a:r>
            <a:r>
              <a:rPr lang="en-US" sz="4000"/>
              <a:t>: this activity is aimed at developing the long-term rail sector skills strategy.</a:t>
            </a:r>
            <a:endParaRPr lang="en-GB" sz="3600" b="1"/>
          </a:p>
          <a:p>
            <a:pPr algn="l"/>
            <a:endParaRPr lang="en-US"/>
          </a:p>
        </p:txBody>
      </p:sp>
    </p:spTree>
    <p:extLst>
      <p:ext uri="{BB962C8B-B14F-4D97-AF65-F5344CB8AC3E}">
        <p14:creationId xmlns:p14="http://schemas.microsoft.com/office/powerpoint/2010/main" val="617377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8">
            <a:extLst>
              <a:ext uri="{FF2B5EF4-FFF2-40B4-BE49-F238E27FC236}">
                <a16:creationId xmlns:a16="http://schemas.microsoft.com/office/drawing/2014/main" id="{D2CB2653-219D-4C74-B175-23C3F4E96679}"/>
              </a:ext>
            </a:extLst>
          </p:cNvPr>
          <p:cNvSpPr>
            <a:spLocks noChangeAspect="1"/>
          </p:cNvSpPr>
          <p:nvPr/>
        </p:nvSpPr>
        <p:spPr bwMode="auto">
          <a:xfrm>
            <a:off x="546295" y="1638270"/>
            <a:ext cx="2383603" cy="2382822"/>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ctr" anchorCtr="0" compatLnSpc="1">
            <a:prstTxWarp prst="textNoShape">
              <a:avLst/>
            </a:prstTxWarp>
          </a:bodyPr>
          <a:lstStyle/>
          <a:p>
            <a:pPr algn="ctr"/>
            <a:r>
              <a:rPr lang="en-US" sz="2000" b="1">
                <a:solidFill>
                  <a:schemeClr val="tx1"/>
                </a:solidFill>
              </a:rPr>
              <a:t>Identification of skill needs…</a:t>
            </a:r>
          </a:p>
        </p:txBody>
      </p:sp>
      <p:graphicFrame>
        <p:nvGraphicFramePr>
          <p:cNvPr id="5" name="Objekt 4" hidden="1">
            <a:extLst>
              <a:ext uri="{FF2B5EF4-FFF2-40B4-BE49-F238E27FC236}">
                <a16:creationId xmlns:a16="http://schemas.microsoft.com/office/drawing/2014/main" id="{932C1F2C-A20E-4F9D-B527-F149BF7D75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Folie" r:id="rId10" imgW="523" imgH="499" progId="TCLayout.ActiveDocument.1">
                  <p:embed/>
                </p:oleObj>
              </mc:Choice>
              <mc:Fallback>
                <p:oleObj name="think-cell Folie" r:id="rId10" imgW="523" imgH="499" progId="TCLayout.ActiveDocument.1">
                  <p:embed/>
                  <p:pic>
                    <p:nvPicPr>
                      <p:cNvPr id="5" name="Objekt 4" hidden="1">
                        <a:extLst>
                          <a:ext uri="{FF2B5EF4-FFF2-40B4-BE49-F238E27FC236}">
                            <a16:creationId xmlns:a16="http://schemas.microsoft.com/office/drawing/2014/main" id="{932C1F2C-A20E-4F9D-B527-F149BF7D754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2F0A3C-6037-094C-A99C-1627A032DC8A}"/>
              </a:ext>
            </a:extLst>
          </p:cNvPr>
          <p:cNvSpPr>
            <a:spLocks noGrp="1"/>
          </p:cNvSpPr>
          <p:nvPr>
            <p:ph type="title"/>
          </p:nvPr>
        </p:nvSpPr>
        <p:spPr/>
        <p:txBody>
          <a:bodyPr vert="horz">
            <a:normAutofit/>
          </a:bodyPr>
          <a:lstStyle/>
          <a:p>
            <a:r>
              <a:rPr lang="en-US"/>
              <a:t>RESULTS on skills gap and </a:t>
            </a:r>
            <a:br>
              <a:rPr lang="en-US"/>
            </a:br>
            <a:r>
              <a:rPr lang="en-US"/>
              <a:t>occupational profiles analysis</a:t>
            </a:r>
            <a:endParaRPr lang="en-US" sz="3200"/>
          </a:p>
        </p:txBody>
      </p:sp>
      <p:sp>
        <p:nvSpPr>
          <p:cNvPr id="47" name="Freeform 48">
            <a:extLst>
              <a:ext uri="{FF2B5EF4-FFF2-40B4-BE49-F238E27FC236}">
                <a16:creationId xmlns:a16="http://schemas.microsoft.com/office/drawing/2014/main" id="{4E57BFBC-D564-4FA0-A485-0C8A7E612D75}"/>
              </a:ext>
            </a:extLst>
          </p:cNvPr>
          <p:cNvSpPr>
            <a:spLocks noChangeAspect="1"/>
          </p:cNvSpPr>
          <p:nvPr/>
        </p:nvSpPr>
        <p:spPr bwMode="auto">
          <a:xfrm>
            <a:off x="536492" y="3385203"/>
            <a:ext cx="2370506" cy="2373747"/>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ctr" anchorCtr="0" compatLnSpc="1">
            <a:prstTxWarp prst="textNoShape">
              <a:avLst/>
            </a:prstTxWarp>
          </a:bodyPr>
          <a:lstStyle/>
          <a:p>
            <a:pPr algn="ctr"/>
            <a:r>
              <a:rPr lang="en-US" sz="2000" b="1">
                <a:solidFill>
                  <a:schemeClr val="accent2"/>
                </a:solidFill>
              </a:rPr>
              <a:t>…</a:t>
            </a:r>
            <a:r>
              <a:rPr lang="en-US" sz="2000" b="1">
                <a:solidFill>
                  <a:schemeClr val="tx1"/>
                </a:solidFill>
              </a:rPr>
              <a:t>by using an assessment methodology</a:t>
            </a:r>
          </a:p>
        </p:txBody>
      </p:sp>
      <p:sp>
        <p:nvSpPr>
          <p:cNvPr id="37" name="Text Box 4">
            <a:extLst>
              <a:ext uri="{FF2B5EF4-FFF2-40B4-BE49-F238E27FC236}">
                <a16:creationId xmlns:a16="http://schemas.microsoft.com/office/drawing/2014/main" id="{0DF26974-9D93-4FC1-B21E-B89F84216CB6}"/>
              </a:ext>
            </a:extLst>
          </p:cNvPr>
          <p:cNvSpPr txBox="1">
            <a:spLocks noChangeArrowheads="1"/>
          </p:cNvSpPr>
          <p:nvPr>
            <p:custDataLst>
              <p:tags r:id="rId3"/>
            </p:custDataLst>
          </p:nvPr>
        </p:nvSpPr>
        <p:spPr bwMode="auto">
          <a:xfrm>
            <a:off x="3371628" y="2252257"/>
            <a:ext cx="3738563" cy="326648"/>
          </a:xfrm>
          <a:prstGeom prst="rect">
            <a:avLst/>
          </a:prstGeom>
          <a:solidFill>
            <a:schemeClr val="accent2"/>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sz="1600" b="1" kern="0">
                <a:solidFill>
                  <a:prstClr val="white"/>
                </a:solidFill>
                <a:latin typeface="+mn-lt"/>
              </a:rPr>
              <a:t>T</a:t>
            </a:r>
            <a:r>
              <a:rPr kumimoji="0" lang="en-US" sz="1600" b="1" i="0" u="none" strike="noStrike" kern="0" cap="none" spc="0" normalizeH="0" baseline="0" noProof="0">
                <a:ln>
                  <a:noFill/>
                </a:ln>
                <a:solidFill>
                  <a:prstClr val="white"/>
                </a:solidFill>
                <a:effectLst/>
                <a:uLnTx/>
                <a:uFillTx/>
                <a:latin typeface="+mn-lt"/>
              </a:rPr>
              <a:t>rends</a:t>
            </a:r>
          </a:p>
        </p:txBody>
      </p:sp>
      <p:sp>
        <p:nvSpPr>
          <p:cNvPr id="38" name="Textfeld 37">
            <a:extLst>
              <a:ext uri="{FF2B5EF4-FFF2-40B4-BE49-F238E27FC236}">
                <a16:creationId xmlns:a16="http://schemas.microsoft.com/office/drawing/2014/main" id="{3EA792C3-821E-465B-AF56-874C1B44EE50}"/>
              </a:ext>
            </a:extLst>
          </p:cNvPr>
          <p:cNvSpPr txBox="1"/>
          <p:nvPr/>
        </p:nvSpPr>
        <p:spPr>
          <a:xfrm>
            <a:off x="3387418" y="4363185"/>
            <a:ext cx="3722773" cy="1459645"/>
          </a:xfrm>
          <a:prstGeom prst="rect">
            <a:avLst/>
          </a:prstGeom>
        </p:spPr>
        <p:style>
          <a:lnRef idx="2">
            <a:schemeClr val="accent2"/>
          </a:lnRef>
          <a:fillRef idx="1">
            <a:schemeClr val="lt1"/>
          </a:fillRef>
          <a:effectRef idx="0">
            <a:schemeClr val="accent2"/>
          </a:effectRef>
          <a:fontRef idx="minor">
            <a:schemeClr val="dk1"/>
          </a:fontRef>
        </p:style>
        <p:txBody>
          <a:bodyPr wrap="square" numCol="2" rtlCol="0">
            <a:noAutofit/>
          </a:bodyPr>
          <a:lstStyle/>
          <a:p>
            <a:pPr marL="285750" indent="-285750">
              <a:buFont typeface="Arial" panose="020B0604020202020204" pitchFamily="34" charset="0"/>
              <a:buChar char="•"/>
            </a:pPr>
            <a:r>
              <a:rPr lang="pt-BR" sz="1600"/>
              <a:t>Engineers </a:t>
            </a:r>
          </a:p>
          <a:p>
            <a:pPr marL="285750" indent="-285750">
              <a:buFont typeface="Arial" panose="020B0604020202020204" pitchFamily="34" charset="0"/>
              <a:buChar char="•"/>
            </a:pPr>
            <a:r>
              <a:rPr lang="pt-BR" sz="1600"/>
              <a:t>Tradesman</a:t>
            </a:r>
          </a:p>
          <a:p>
            <a:pPr marL="285750" indent="-285750">
              <a:buFont typeface="Arial" panose="020B0604020202020204" pitchFamily="34" charset="0"/>
              <a:buChar char="•"/>
            </a:pPr>
            <a:r>
              <a:rPr lang="pt-BR" sz="1600"/>
              <a:t>Technicians</a:t>
            </a:r>
          </a:p>
          <a:p>
            <a:pPr marL="285750" indent="-285750">
              <a:buFont typeface="Arial" panose="020B0604020202020204" pitchFamily="34" charset="0"/>
              <a:buChar char="•"/>
            </a:pPr>
            <a:r>
              <a:rPr lang="pt-BR" sz="1600"/>
              <a:t>Operations </a:t>
            </a:r>
          </a:p>
          <a:p>
            <a:pPr marL="285750" indent="-285750">
              <a:buFont typeface="Arial" panose="020B0604020202020204" pitchFamily="34" charset="0"/>
              <a:buChar char="•"/>
            </a:pPr>
            <a:r>
              <a:rPr lang="pt-BR" sz="1600"/>
              <a:t>Production</a:t>
            </a:r>
          </a:p>
          <a:p>
            <a:pPr marL="285750" indent="-285750">
              <a:buFont typeface="Arial" panose="020B0604020202020204" pitchFamily="34" charset="0"/>
              <a:buChar char="•"/>
            </a:pPr>
            <a:r>
              <a:rPr lang="pt-BR" sz="1600"/>
              <a:t>Digital/ IT</a:t>
            </a:r>
          </a:p>
          <a:p>
            <a:pPr marL="285750" indent="-285750">
              <a:buFont typeface="Arial" panose="020B0604020202020204" pitchFamily="34" charset="0"/>
              <a:buChar char="•"/>
            </a:pPr>
            <a:r>
              <a:rPr lang="pt-BR" sz="1600"/>
              <a:t>Corporate</a:t>
            </a:r>
          </a:p>
          <a:p>
            <a:pPr marL="285750" indent="-285750">
              <a:buFont typeface="Arial" panose="020B0604020202020204" pitchFamily="34" charset="0"/>
              <a:buChar char="•"/>
            </a:pPr>
            <a:r>
              <a:rPr lang="pt-BR" sz="1600"/>
              <a:t>Finances</a:t>
            </a:r>
          </a:p>
        </p:txBody>
      </p:sp>
      <p:sp>
        <p:nvSpPr>
          <p:cNvPr id="39" name="Text Box 4">
            <a:extLst>
              <a:ext uri="{FF2B5EF4-FFF2-40B4-BE49-F238E27FC236}">
                <a16:creationId xmlns:a16="http://schemas.microsoft.com/office/drawing/2014/main" id="{D34E307E-293D-436D-9104-A59C66613361}"/>
              </a:ext>
            </a:extLst>
          </p:cNvPr>
          <p:cNvSpPr txBox="1">
            <a:spLocks noChangeArrowheads="1"/>
          </p:cNvSpPr>
          <p:nvPr>
            <p:custDataLst>
              <p:tags r:id="rId4"/>
            </p:custDataLst>
          </p:nvPr>
        </p:nvSpPr>
        <p:spPr bwMode="auto">
          <a:xfrm>
            <a:off x="3383814" y="3779330"/>
            <a:ext cx="3733799" cy="583856"/>
          </a:xfrm>
          <a:prstGeom prst="rect">
            <a:avLst/>
          </a:prstGeom>
          <a:solidFill>
            <a:schemeClr val="accent2"/>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sz="1600" b="1" kern="0">
                <a:solidFill>
                  <a:prstClr val="white"/>
                </a:solidFill>
                <a:latin typeface="+mn-lt"/>
              </a:rPr>
              <a:t>Occupational groups/job families for Rail Suppliers and Rail Operators</a:t>
            </a:r>
          </a:p>
        </p:txBody>
      </p:sp>
      <p:sp>
        <p:nvSpPr>
          <p:cNvPr id="41" name="Textfeld 40">
            <a:extLst>
              <a:ext uri="{FF2B5EF4-FFF2-40B4-BE49-F238E27FC236}">
                <a16:creationId xmlns:a16="http://schemas.microsoft.com/office/drawing/2014/main" id="{40DFE9E8-889A-46EB-B5D3-52D8BA56E98C}"/>
              </a:ext>
            </a:extLst>
          </p:cNvPr>
          <p:cNvSpPr txBox="1"/>
          <p:nvPr/>
        </p:nvSpPr>
        <p:spPr>
          <a:xfrm>
            <a:off x="3377615" y="2581271"/>
            <a:ext cx="3722776" cy="928376"/>
          </a:xfrm>
          <a:prstGeom prst="rect">
            <a:avLst/>
          </a:prstGeom>
        </p:spPr>
        <p:style>
          <a:lnRef idx="2">
            <a:schemeClr val="accent2"/>
          </a:lnRef>
          <a:fillRef idx="1">
            <a:schemeClr val="lt1"/>
          </a:fillRef>
          <a:effectRef idx="0">
            <a:schemeClr val="accent2"/>
          </a:effectRef>
          <a:fontRef idx="minor">
            <a:schemeClr val="dk1"/>
          </a:fontRef>
        </p:style>
        <p:txBody>
          <a:bodyPr wrap="square" numCol="2" rtlCol="0">
            <a:noAutofit/>
          </a:bodyPr>
          <a:lstStyle/>
          <a:p>
            <a:pPr marL="285750" indent="-285750">
              <a:buFont typeface="Arial" panose="020B0604020202020204" pitchFamily="34" charset="0"/>
              <a:buChar char="•"/>
            </a:pPr>
            <a:r>
              <a:rPr lang="en-US" sz="1600">
                <a:solidFill>
                  <a:schemeClr val="bg1"/>
                </a:solidFill>
              </a:rPr>
              <a:t>Society</a:t>
            </a:r>
          </a:p>
          <a:p>
            <a:pPr marL="285750" indent="-285750">
              <a:buFont typeface="Arial" panose="020B0604020202020204" pitchFamily="34" charset="0"/>
              <a:buChar char="•"/>
            </a:pPr>
            <a:r>
              <a:rPr lang="en-US" sz="1600">
                <a:solidFill>
                  <a:schemeClr val="bg1"/>
                </a:solidFill>
              </a:rPr>
              <a:t>Environment and politics</a:t>
            </a:r>
          </a:p>
          <a:p>
            <a:pPr marL="285750" indent="-285750">
              <a:buFont typeface="Arial" panose="020B0604020202020204" pitchFamily="34" charset="0"/>
              <a:buChar char="•"/>
            </a:pPr>
            <a:r>
              <a:rPr lang="en-US" sz="1600">
                <a:solidFill>
                  <a:schemeClr val="bg1"/>
                </a:solidFill>
              </a:rPr>
              <a:t>Technical changes</a:t>
            </a:r>
          </a:p>
          <a:p>
            <a:pPr marL="285750" indent="-285750">
              <a:buFont typeface="Arial" panose="020B0604020202020204" pitchFamily="34" charset="0"/>
              <a:buChar char="•"/>
            </a:pPr>
            <a:r>
              <a:rPr lang="en-US" sz="1600">
                <a:solidFill>
                  <a:schemeClr val="bg1"/>
                </a:solidFill>
              </a:rPr>
              <a:t>Economics and market</a:t>
            </a:r>
            <a:endParaRPr lang="en-US" sz="1600">
              <a:solidFill>
                <a:srgbClr val="002060"/>
              </a:solidFill>
            </a:endParaRPr>
          </a:p>
        </p:txBody>
      </p:sp>
      <p:sp>
        <p:nvSpPr>
          <p:cNvPr id="42" name="Text Box 4">
            <a:extLst>
              <a:ext uri="{FF2B5EF4-FFF2-40B4-BE49-F238E27FC236}">
                <a16:creationId xmlns:a16="http://schemas.microsoft.com/office/drawing/2014/main" id="{EAD60ABF-E9D3-461F-B5AF-1CD4D4ED6968}"/>
              </a:ext>
            </a:extLst>
          </p:cNvPr>
          <p:cNvSpPr txBox="1">
            <a:spLocks noChangeArrowheads="1"/>
          </p:cNvSpPr>
          <p:nvPr>
            <p:custDataLst>
              <p:tags r:id="rId5"/>
            </p:custDataLst>
          </p:nvPr>
        </p:nvSpPr>
        <p:spPr bwMode="auto">
          <a:xfrm>
            <a:off x="7548341" y="2255766"/>
            <a:ext cx="4076573" cy="326648"/>
          </a:xfrm>
          <a:prstGeom prst="rect">
            <a:avLst/>
          </a:prstGeom>
          <a:solidFill>
            <a:schemeClr val="accent2"/>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lgn="ctr">
              <a:spcBef>
                <a:spcPct val="0"/>
              </a:spcBef>
              <a:defRPr/>
            </a:pPr>
            <a:r>
              <a:rPr lang="en-US" sz="1600" b="1">
                <a:latin typeface="+mn-lt"/>
              </a:rPr>
              <a:t>Occupational/job profiles</a:t>
            </a:r>
          </a:p>
        </p:txBody>
      </p:sp>
      <p:sp>
        <p:nvSpPr>
          <p:cNvPr id="43" name="Textfeld 42">
            <a:extLst>
              <a:ext uri="{FF2B5EF4-FFF2-40B4-BE49-F238E27FC236}">
                <a16:creationId xmlns:a16="http://schemas.microsoft.com/office/drawing/2014/main" id="{D9F56BD4-3E33-4517-954D-B018AFD6DBDE}"/>
              </a:ext>
            </a:extLst>
          </p:cNvPr>
          <p:cNvSpPr txBox="1"/>
          <p:nvPr/>
        </p:nvSpPr>
        <p:spPr>
          <a:xfrm>
            <a:off x="7555217" y="2582413"/>
            <a:ext cx="4059894" cy="3240417"/>
          </a:xfrm>
          <a:prstGeom prst="rect">
            <a:avLst/>
          </a:prstGeom>
        </p:spPr>
        <p:style>
          <a:lnRef idx="2">
            <a:schemeClr val="accent2"/>
          </a:lnRef>
          <a:fillRef idx="1">
            <a:schemeClr val="lt1"/>
          </a:fillRef>
          <a:effectRef idx="0">
            <a:schemeClr val="accent2"/>
          </a:effectRef>
          <a:fontRef idx="minor">
            <a:schemeClr val="dk1"/>
          </a:fontRef>
        </p:style>
        <p:txBody>
          <a:bodyPr wrap="square" numCol="1" rtlCol="0">
            <a:noAutofit/>
          </a:bodyPr>
          <a:lstStyle/>
          <a:p>
            <a:pPr marL="285750" indent="-285750">
              <a:buFont typeface="Arial" panose="020B0604020202020204" pitchFamily="34" charset="0"/>
              <a:buChar char="•"/>
            </a:pPr>
            <a:r>
              <a:rPr lang="en-US" sz="1600">
                <a:solidFill>
                  <a:schemeClr val="bg1"/>
                </a:solidFill>
              </a:rPr>
              <a:t>Existing occupational profiles (examples):</a:t>
            </a:r>
          </a:p>
          <a:p>
            <a:pPr marL="449263" lvl="1" indent="-182563">
              <a:buSzPct val="60000"/>
              <a:buFont typeface="Courier New" panose="02070309020205020404" pitchFamily="49" charset="0"/>
              <a:buChar char="o"/>
            </a:pPr>
            <a:r>
              <a:rPr lang="en-US" sz="1600">
                <a:solidFill>
                  <a:schemeClr val="bg1"/>
                </a:solidFill>
              </a:rPr>
              <a:t>rail operation manager</a:t>
            </a:r>
          </a:p>
          <a:p>
            <a:pPr marL="449263" lvl="1" indent="-182563">
              <a:buSzPct val="60000"/>
              <a:buFont typeface="Courier New" panose="02070309020205020404" pitchFamily="49" charset="0"/>
              <a:buChar char="o"/>
            </a:pPr>
            <a:r>
              <a:rPr lang="en-US" sz="1600">
                <a:solidFill>
                  <a:schemeClr val="bg1"/>
                </a:solidFill>
              </a:rPr>
              <a:t>infrastructure/network engineer</a:t>
            </a:r>
          </a:p>
          <a:p>
            <a:pPr marL="449263" lvl="1" indent="-182563">
              <a:buSzPct val="60000"/>
              <a:buFont typeface="Courier New" panose="02070309020205020404" pitchFamily="49" charset="0"/>
              <a:buChar char="o"/>
            </a:pPr>
            <a:r>
              <a:rPr lang="en-US" sz="1600">
                <a:solidFill>
                  <a:schemeClr val="bg1"/>
                </a:solidFill>
              </a:rPr>
              <a:t>automation engineer/technician</a:t>
            </a:r>
          </a:p>
          <a:p>
            <a:pPr marL="449263" lvl="1" indent="-182563">
              <a:buSzPct val="60000"/>
              <a:buFont typeface="Courier New" panose="02070309020205020404" pitchFamily="49" charset="0"/>
              <a:buChar char="o"/>
            </a:pPr>
            <a:r>
              <a:rPr lang="en-US" sz="1600">
                <a:solidFill>
                  <a:schemeClr val="bg1"/>
                </a:solidFill>
              </a:rPr>
              <a:t>transportation system engineer/technician</a:t>
            </a:r>
          </a:p>
          <a:p>
            <a:pPr marL="449263" lvl="1" indent="-182563">
              <a:buSzPct val="60000"/>
              <a:buFont typeface="Courier New" panose="02070309020205020404" pitchFamily="49" charset="0"/>
              <a:buChar char="o"/>
            </a:pPr>
            <a:r>
              <a:rPr lang="en-US" sz="1600">
                <a:solidFill>
                  <a:schemeClr val="bg1"/>
                </a:solidFill>
              </a:rPr>
              <a:t>Artificial Intelligence engineer/technician</a:t>
            </a:r>
          </a:p>
          <a:p>
            <a:pPr marL="449263" lvl="1" indent="-182563">
              <a:buSzPct val="60000"/>
              <a:buFont typeface="Courier New" panose="02070309020205020404" pitchFamily="49" charset="0"/>
              <a:buChar char="o"/>
            </a:pPr>
            <a:r>
              <a:rPr lang="en-US" sz="1600">
                <a:solidFill>
                  <a:schemeClr val="bg1"/>
                </a:solidFill>
              </a:rPr>
              <a:t>dispatcher</a:t>
            </a:r>
          </a:p>
          <a:p>
            <a:pPr marL="449263" lvl="1" indent="-182563">
              <a:buSzPct val="60000"/>
              <a:buFont typeface="Courier New" panose="02070309020205020404" pitchFamily="49" charset="0"/>
              <a:buChar char="o"/>
            </a:pPr>
            <a:r>
              <a:rPr lang="en-US" sz="1600">
                <a:solidFill>
                  <a:schemeClr val="bg1"/>
                </a:solidFill>
              </a:rPr>
              <a:t>train driver</a:t>
            </a:r>
          </a:p>
          <a:p>
            <a:pPr marL="447675" lvl="1" indent="-180975">
              <a:buFont typeface="Arial" panose="020B0604020202020204" pitchFamily="34" charset="0"/>
              <a:buChar char="•"/>
            </a:pPr>
            <a:endParaRPr lang="en-US" sz="1600">
              <a:solidFill>
                <a:schemeClr val="bg1"/>
              </a:solidFill>
            </a:endParaRPr>
          </a:p>
          <a:p>
            <a:pPr marL="285750" indent="-285750">
              <a:buFont typeface="Arial" panose="020B0604020202020204" pitchFamily="34" charset="0"/>
              <a:buChar char="•"/>
            </a:pPr>
            <a:r>
              <a:rPr lang="en-US" sz="1600">
                <a:solidFill>
                  <a:schemeClr val="bg1"/>
                </a:solidFill>
              </a:rPr>
              <a:t>New occupational profiles (examples)</a:t>
            </a:r>
          </a:p>
          <a:p>
            <a:pPr marL="449263" lvl="1" indent="-182563">
              <a:buSzPct val="60000"/>
              <a:buFont typeface="Courier New" panose="02070309020205020404" pitchFamily="49" charset="0"/>
              <a:buChar char="o"/>
            </a:pPr>
            <a:r>
              <a:rPr lang="en-US" sz="1600">
                <a:solidFill>
                  <a:schemeClr val="bg1"/>
                </a:solidFill>
              </a:rPr>
              <a:t>BIM project manager</a:t>
            </a:r>
          </a:p>
          <a:p>
            <a:pPr marL="449263" lvl="1" indent="-182563">
              <a:buSzPct val="60000"/>
              <a:buFont typeface="Courier New" panose="02070309020205020404" pitchFamily="49" charset="0"/>
              <a:buChar char="o"/>
            </a:pPr>
            <a:r>
              <a:rPr lang="en-US" sz="1600">
                <a:solidFill>
                  <a:schemeClr val="bg1"/>
                </a:solidFill>
              </a:rPr>
              <a:t>Big Data analyst in maintenance,</a:t>
            </a:r>
          </a:p>
          <a:p>
            <a:pPr marL="449263" lvl="1" indent="-182563">
              <a:buSzPct val="60000"/>
              <a:buFont typeface="Courier New" panose="02070309020205020404" pitchFamily="49" charset="0"/>
              <a:buChar char="o"/>
            </a:pPr>
            <a:r>
              <a:rPr lang="en-US" sz="1600">
                <a:solidFill>
                  <a:schemeClr val="bg1"/>
                </a:solidFill>
              </a:rPr>
              <a:t>cybersecurity specialists</a:t>
            </a:r>
          </a:p>
        </p:txBody>
      </p:sp>
      <p:sp>
        <p:nvSpPr>
          <p:cNvPr id="48" name="Text Box 4">
            <a:extLst>
              <a:ext uri="{FF2B5EF4-FFF2-40B4-BE49-F238E27FC236}">
                <a16:creationId xmlns:a16="http://schemas.microsoft.com/office/drawing/2014/main" id="{ACCD83CC-1D92-46CC-8F7D-43E97BDEC25B}"/>
              </a:ext>
            </a:extLst>
          </p:cNvPr>
          <p:cNvSpPr txBox="1">
            <a:spLocks noChangeArrowheads="1"/>
          </p:cNvSpPr>
          <p:nvPr>
            <p:custDataLst>
              <p:tags r:id="rId6"/>
            </p:custDataLst>
          </p:nvPr>
        </p:nvSpPr>
        <p:spPr bwMode="auto">
          <a:xfrm>
            <a:off x="3377617" y="1783717"/>
            <a:ext cx="3722776" cy="326648"/>
          </a:xfrm>
          <a:prstGeom prst="rect">
            <a:avLst/>
          </a:prstGeom>
          <a:solidFill>
            <a:schemeClr val="accent2"/>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sz="1600" b="1" kern="0">
                <a:solidFill>
                  <a:prstClr val="white"/>
                </a:solidFill>
                <a:latin typeface="+mn-lt"/>
              </a:rPr>
              <a:t>WP1</a:t>
            </a:r>
            <a:endParaRPr kumimoji="0" lang="en-US" sz="1600" b="1" i="0" u="none" strike="noStrike" kern="0" cap="none" spc="0" normalizeH="0" baseline="0" noProof="0">
              <a:ln>
                <a:noFill/>
              </a:ln>
              <a:solidFill>
                <a:prstClr val="white"/>
              </a:solidFill>
              <a:effectLst/>
              <a:uLnTx/>
              <a:uFillTx/>
              <a:latin typeface="+mn-lt"/>
            </a:endParaRPr>
          </a:p>
        </p:txBody>
      </p:sp>
      <p:sp>
        <p:nvSpPr>
          <p:cNvPr id="49" name="Text Box 4">
            <a:extLst>
              <a:ext uri="{FF2B5EF4-FFF2-40B4-BE49-F238E27FC236}">
                <a16:creationId xmlns:a16="http://schemas.microsoft.com/office/drawing/2014/main" id="{01FCFD79-888F-429C-93CA-BA03E89D93B1}"/>
              </a:ext>
            </a:extLst>
          </p:cNvPr>
          <p:cNvSpPr txBox="1">
            <a:spLocks noChangeArrowheads="1"/>
          </p:cNvSpPr>
          <p:nvPr>
            <p:custDataLst>
              <p:tags r:id="rId7"/>
            </p:custDataLst>
          </p:nvPr>
        </p:nvSpPr>
        <p:spPr bwMode="auto">
          <a:xfrm>
            <a:off x="7555216" y="1781980"/>
            <a:ext cx="4069697" cy="326648"/>
          </a:xfrm>
          <a:prstGeom prst="rect">
            <a:avLst/>
          </a:prstGeom>
          <a:solidFill>
            <a:schemeClr val="accent2"/>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sz="1600" b="1" kern="0">
                <a:solidFill>
                  <a:prstClr val="white"/>
                </a:solidFill>
                <a:latin typeface="+mn-lt"/>
              </a:rPr>
              <a:t>WP2/ WP3</a:t>
            </a:r>
            <a:endParaRPr kumimoji="0" lang="en-US" sz="1600" b="1" i="0" u="none" strike="noStrike" kern="0" cap="none" spc="0" normalizeH="0" baseline="0" noProof="0">
              <a:ln>
                <a:noFill/>
              </a:ln>
              <a:solidFill>
                <a:prstClr val="white"/>
              </a:solidFill>
              <a:effectLst/>
              <a:uLnTx/>
              <a:uFillTx/>
              <a:latin typeface="+mn-lt"/>
            </a:endParaRPr>
          </a:p>
        </p:txBody>
      </p:sp>
      <p:sp>
        <p:nvSpPr>
          <p:cNvPr id="53" name="Gleichschenkliges Dreieck 52">
            <a:extLst>
              <a:ext uri="{FF2B5EF4-FFF2-40B4-BE49-F238E27FC236}">
                <a16:creationId xmlns:a16="http://schemas.microsoft.com/office/drawing/2014/main" id="{6F8BBDB6-AF16-4C8F-90BC-D5A69DE9C3A4}"/>
              </a:ext>
            </a:extLst>
          </p:cNvPr>
          <p:cNvSpPr/>
          <p:nvPr/>
        </p:nvSpPr>
        <p:spPr>
          <a:xfrm rot="5400000">
            <a:off x="7179736" y="1829267"/>
            <a:ext cx="324557" cy="233464"/>
          </a:xfrm>
          <a:prstGeom prst="triangl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5" name="Gleichschenkliges Dreieck 54">
            <a:extLst>
              <a:ext uri="{FF2B5EF4-FFF2-40B4-BE49-F238E27FC236}">
                <a16:creationId xmlns:a16="http://schemas.microsoft.com/office/drawing/2014/main" id="{EA7950AA-D5EE-48A8-8D46-39F7DCCFE1A0}"/>
              </a:ext>
            </a:extLst>
          </p:cNvPr>
          <p:cNvSpPr/>
          <p:nvPr/>
        </p:nvSpPr>
        <p:spPr>
          <a:xfrm rot="10800000">
            <a:off x="5073731" y="3553255"/>
            <a:ext cx="324557" cy="182467"/>
          </a:xfrm>
          <a:prstGeom prst="triangl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49656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8">
            <a:extLst>
              <a:ext uri="{FF2B5EF4-FFF2-40B4-BE49-F238E27FC236}">
                <a16:creationId xmlns:a16="http://schemas.microsoft.com/office/drawing/2014/main" id="{D2CB2653-219D-4C74-B175-23C3F4E96679}"/>
              </a:ext>
            </a:extLst>
          </p:cNvPr>
          <p:cNvSpPr>
            <a:spLocks noChangeAspect="1"/>
          </p:cNvSpPr>
          <p:nvPr/>
        </p:nvSpPr>
        <p:spPr bwMode="auto">
          <a:xfrm>
            <a:off x="270251" y="1668402"/>
            <a:ext cx="2360908" cy="2360134"/>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ctr" anchorCtr="0" compatLnSpc="1">
            <a:prstTxWarp prst="textNoShape">
              <a:avLst/>
            </a:prstTxWarp>
          </a:bodyPr>
          <a:lstStyle/>
          <a:p>
            <a:pPr algn="ctr"/>
            <a:r>
              <a:rPr lang="en-US" sz="2200" b="1">
                <a:solidFill>
                  <a:schemeClr val="tx1"/>
                </a:solidFill>
              </a:rPr>
              <a:t>Development of mobility and training programmes..</a:t>
            </a:r>
          </a:p>
        </p:txBody>
      </p:sp>
      <p:graphicFrame>
        <p:nvGraphicFramePr>
          <p:cNvPr id="5" name="Objekt 4" hidden="1">
            <a:extLst>
              <a:ext uri="{FF2B5EF4-FFF2-40B4-BE49-F238E27FC236}">
                <a16:creationId xmlns:a16="http://schemas.microsoft.com/office/drawing/2014/main" id="{932C1F2C-A20E-4F9D-B527-F149BF7D75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Folie" r:id="rId5" imgW="523" imgH="499" progId="TCLayout.ActiveDocument.1">
                  <p:embed/>
                </p:oleObj>
              </mc:Choice>
              <mc:Fallback>
                <p:oleObj name="think-cell Folie" r:id="rId5" imgW="523" imgH="499" progId="TCLayout.ActiveDocument.1">
                  <p:embed/>
                  <p:pic>
                    <p:nvPicPr>
                      <p:cNvPr id="5" name="Objekt 4" hidden="1">
                        <a:extLst>
                          <a:ext uri="{FF2B5EF4-FFF2-40B4-BE49-F238E27FC236}">
                            <a16:creationId xmlns:a16="http://schemas.microsoft.com/office/drawing/2014/main" id="{932C1F2C-A20E-4F9D-B527-F149BF7D75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2F0A3C-6037-094C-A99C-1627A032DC8A}"/>
              </a:ext>
            </a:extLst>
          </p:cNvPr>
          <p:cNvSpPr>
            <a:spLocks noGrp="1"/>
          </p:cNvSpPr>
          <p:nvPr>
            <p:ph type="title"/>
          </p:nvPr>
        </p:nvSpPr>
        <p:spPr>
          <a:xfrm>
            <a:off x="717430" y="261608"/>
            <a:ext cx="8641809" cy="1325563"/>
          </a:xfrm>
        </p:spPr>
        <p:txBody>
          <a:bodyPr vert="horz">
            <a:normAutofit/>
          </a:bodyPr>
          <a:lstStyle/>
          <a:p>
            <a:r>
              <a:rPr lang="en-US"/>
              <a:t>RESULTS on occupational profiles selection and programmes definition</a:t>
            </a:r>
            <a:endParaRPr lang="en-US" sz="3200"/>
          </a:p>
        </p:txBody>
      </p:sp>
      <p:grpSp>
        <p:nvGrpSpPr>
          <p:cNvPr id="15" name="Gruppo 14">
            <a:extLst>
              <a:ext uri="{FF2B5EF4-FFF2-40B4-BE49-F238E27FC236}">
                <a16:creationId xmlns:a16="http://schemas.microsoft.com/office/drawing/2014/main" id="{B2A187D1-CBF0-7F0F-AAE5-927E1E0EF455}"/>
              </a:ext>
            </a:extLst>
          </p:cNvPr>
          <p:cNvGrpSpPr/>
          <p:nvPr/>
        </p:nvGrpSpPr>
        <p:grpSpPr>
          <a:xfrm>
            <a:off x="2832761" y="1483322"/>
            <a:ext cx="8778393" cy="4967343"/>
            <a:chOff x="4037162" y="2331038"/>
            <a:chExt cx="6122837" cy="3805387"/>
          </a:xfrm>
        </p:grpSpPr>
        <p:grpSp>
          <p:nvGrpSpPr>
            <p:cNvPr id="6" name="Gruppo 5">
              <a:extLst>
                <a:ext uri="{FF2B5EF4-FFF2-40B4-BE49-F238E27FC236}">
                  <a16:creationId xmlns:a16="http://schemas.microsoft.com/office/drawing/2014/main" id="{2483C85A-DE1D-3629-CBD8-940D7FC2EB07}"/>
                </a:ext>
              </a:extLst>
            </p:cNvPr>
            <p:cNvGrpSpPr/>
            <p:nvPr/>
          </p:nvGrpSpPr>
          <p:grpSpPr>
            <a:xfrm>
              <a:off x="4037162" y="2331038"/>
              <a:ext cx="6122836" cy="3805387"/>
              <a:chOff x="4037162" y="2331038"/>
              <a:chExt cx="6122836" cy="3805387"/>
            </a:xfrm>
          </p:grpSpPr>
          <p:sp>
            <p:nvSpPr>
              <p:cNvPr id="7" name="Figura a mano libera: forma 6">
                <a:extLst>
                  <a:ext uri="{FF2B5EF4-FFF2-40B4-BE49-F238E27FC236}">
                    <a16:creationId xmlns:a16="http://schemas.microsoft.com/office/drawing/2014/main" id="{96BEBCCD-19B3-5101-26A7-06AD70A56499}"/>
                  </a:ext>
                </a:extLst>
              </p:cNvPr>
              <p:cNvSpPr/>
              <p:nvPr/>
            </p:nvSpPr>
            <p:spPr>
              <a:xfrm>
                <a:off x="6241382" y="2422735"/>
                <a:ext cx="3918616" cy="733569"/>
              </a:xfrm>
              <a:custGeom>
                <a:avLst/>
                <a:gdLst>
                  <a:gd name="connsiteX0" fmla="*/ 122264 w 733568"/>
                  <a:gd name="connsiteY0" fmla="*/ 0 h 3918615"/>
                  <a:gd name="connsiteX1" fmla="*/ 611304 w 733568"/>
                  <a:gd name="connsiteY1" fmla="*/ 0 h 3918615"/>
                  <a:gd name="connsiteX2" fmla="*/ 733568 w 733568"/>
                  <a:gd name="connsiteY2" fmla="*/ 122264 h 3918615"/>
                  <a:gd name="connsiteX3" fmla="*/ 733568 w 733568"/>
                  <a:gd name="connsiteY3" fmla="*/ 3918615 h 3918615"/>
                  <a:gd name="connsiteX4" fmla="*/ 733568 w 733568"/>
                  <a:gd name="connsiteY4" fmla="*/ 3918615 h 3918615"/>
                  <a:gd name="connsiteX5" fmla="*/ 0 w 733568"/>
                  <a:gd name="connsiteY5" fmla="*/ 3918615 h 3918615"/>
                  <a:gd name="connsiteX6" fmla="*/ 0 w 733568"/>
                  <a:gd name="connsiteY6" fmla="*/ 3918615 h 3918615"/>
                  <a:gd name="connsiteX7" fmla="*/ 0 w 733568"/>
                  <a:gd name="connsiteY7" fmla="*/ 122264 h 3918615"/>
                  <a:gd name="connsiteX8" fmla="*/ 122264 w 733568"/>
                  <a:gd name="connsiteY8" fmla="*/ 0 h 391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568" h="3918615">
                    <a:moveTo>
                      <a:pt x="733568" y="653119"/>
                    </a:moveTo>
                    <a:lnTo>
                      <a:pt x="733568" y="3265496"/>
                    </a:lnTo>
                    <a:cubicBezTo>
                      <a:pt x="733568" y="3626205"/>
                      <a:pt x="723321" y="3918612"/>
                      <a:pt x="710680" y="3918612"/>
                    </a:cubicBezTo>
                    <a:lnTo>
                      <a:pt x="0" y="3918612"/>
                    </a:lnTo>
                    <a:lnTo>
                      <a:pt x="0" y="3918612"/>
                    </a:lnTo>
                    <a:lnTo>
                      <a:pt x="0" y="3"/>
                    </a:lnTo>
                    <a:lnTo>
                      <a:pt x="0" y="3"/>
                    </a:lnTo>
                    <a:lnTo>
                      <a:pt x="710680" y="3"/>
                    </a:lnTo>
                    <a:cubicBezTo>
                      <a:pt x="723321" y="3"/>
                      <a:pt x="733568" y="292410"/>
                      <a:pt x="733568" y="653119"/>
                    </a:cubicBez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1" tIns="75815" rIns="115820" bIns="75816" numCol="1" spcCol="1270" anchor="ctr" anchorCtr="0">
                <a:noAutofit/>
              </a:bodyPr>
              <a:lstStyle/>
              <a:p>
                <a:pPr marL="228600" lvl="1" indent="-228600" algn="l" defTabSz="933450">
                  <a:lnSpc>
                    <a:spcPct val="90000"/>
                  </a:lnSpc>
                  <a:spcBef>
                    <a:spcPct val="0"/>
                  </a:spcBef>
                  <a:spcAft>
                    <a:spcPct val="15000"/>
                  </a:spcAft>
                  <a:buChar char="•"/>
                </a:pPr>
                <a:endParaRPr lang="en-US" sz="1800">
                  <a:effectLst/>
                  <a:latin typeface="Tw Cen MT" panose="020B0602020104020603" pitchFamily="34" charset="0"/>
                  <a:ea typeface="Tw Cen MT" panose="020B0602020104020603" pitchFamily="34" charset="0"/>
                  <a:cs typeface="Times New Roman (Body CS)"/>
                </a:endParaRPr>
              </a:p>
              <a:p>
                <a:pPr marL="228600" lvl="1" indent="-228600" algn="l" defTabSz="933450">
                  <a:lnSpc>
                    <a:spcPct val="90000"/>
                  </a:lnSpc>
                  <a:spcBef>
                    <a:spcPct val="0"/>
                  </a:spcBef>
                  <a:spcAft>
                    <a:spcPct val="15000"/>
                  </a:spcAft>
                  <a:buChar char="•"/>
                </a:pPr>
                <a:r>
                  <a:rPr lang="en-US" sz="1600">
                    <a:effectLst/>
                    <a:latin typeface="Tw Cen MT" panose="020B0602020104020603" pitchFamily="34" charset="0"/>
                    <a:ea typeface="Tw Cen MT" panose="020B0602020104020603" pitchFamily="34" charset="0"/>
                    <a:cs typeface="Times New Roman (Body CS)"/>
                  </a:rPr>
                  <a:t>Selection of innovative field</a:t>
                </a:r>
              </a:p>
              <a:p>
                <a:pPr marL="228600" lvl="1" indent="-228600" algn="l" defTabSz="933450">
                  <a:lnSpc>
                    <a:spcPct val="90000"/>
                  </a:lnSpc>
                  <a:spcBef>
                    <a:spcPct val="0"/>
                  </a:spcBef>
                  <a:spcAft>
                    <a:spcPct val="15000"/>
                  </a:spcAft>
                  <a:buChar char="•"/>
                </a:pPr>
                <a:r>
                  <a:rPr lang="en-US" sz="1600">
                    <a:effectLst/>
                    <a:latin typeface="Tw Cen MT" panose="020B0602020104020603" pitchFamily="34" charset="0"/>
                    <a:ea typeface="Tw Cen MT" panose="020B0602020104020603" pitchFamily="34" charset="0"/>
                    <a:cs typeface="Times New Roman (Body CS)"/>
                  </a:rPr>
                  <a:t>Identification of the subskills</a:t>
                </a:r>
              </a:p>
              <a:p>
                <a:pPr marL="228600" lvl="1" indent="-228600" algn="l" defTabSz="933450">
                  <a:lnSpc>
                    <a:spcPct val="90000"/>
                  </a:lnSpc>
                  <a:spcBef>
                    <a:spcPct val="0"/>
                  </a:spcBef>
                  <a:spcAft>
                    <a:spcPct val="15000"/>
                  </a:spcAft>
                  <a:buChar char="•"/>
                </a:pPr>
                <a:r>
                  <a:rPr lang="en-US" sz="1600">
                    <a:effectLst/>
                    <a:latin typeface="Tw Cen MT" panose="020B0602020104020603" pitchFamily="34" charset="0"/>
                    <a:ea typeface="Tw Cen MT" panose="020B0602020104020603" pitchFamily="34" charset="0"/>
                    <a:cs typeface="Times New Roman (Body CS)"/>
                  </a:rPr>
                  <a:t>Subdivision of the subskills in EQF levels </a:t>
                </a:r>
                <a:endParaRPr lang="it-IT" sz="1600" kern="1200"/>
              </a:p>
              <a:p>
                <a:pPr marL="228600" lvl="1" indent="-228600" algn="l" defTabSz="933450">
                  <a:lnSpc>
                    <a:spcPct val="90000"/>
                  </a:lnSpc>
                  <a:spcBef>
                    <a:spcPct val="0"/>
                  </a:spcBef>
                  <a:spcAft>
                    <a:spcPct val="15000"/>
                  </a:spcAft>
                  <a:buChar char="•"/>
                </a:pPr>
                <a:endParaRPr lang="it-IT" sz="2100" kern="1200"/>
              </a:p>
            </p:txBody>
          </p:sp>
          <p:sp>
            <p:nvSpPr>
              <p:cNvPr id="8" name="Figura a mano libera: forma 7">
                <a:extLst>
                  <a:ext uri="{FF2B5EF4-FFF2-40B4-BE49-F238E27FC236}">
                    <a16:creationId xmlns:a16="http://schemas.microsoft.com/office/drawing/2014/main" id="{F44B0B0A-0AA3-1016-622B-AFC81E09DB1D}"/>
                  </a:ext>
                </a:extLst>
              </p:cNvPr>
              <p:cNvSpPr/>
              <p:nvPr/>
            </p:nvSpPr>
            <p:spPr>
              <a:xfrm>
                <a:off x="4037162" y="2331038"/>
                <a:ext cx="2204221" cy="916960"/>
              </a:xfrm>
              <a:custGeom>
                <a:avLst/>
                <a:gdLst>
                  <a:gd name="connsiteX0" fmla="*/ 0 w 2204221"/>
                  <a:gd name="connsiteY0" fmla="*/ 152830 h 916960"/>
                  <a:gd name="connsiteX1" fmla="*/ 152830 w 2204221"/>
                  <a:gd name="connsiteY1" fmla="*/ 0 h 916960"/>
                  <a:gd name="connsiteX2" fmla="*/ 2051391 w 2204221"/>
                  <a:gd name="connsiteY2" fmla="*/ 0 h 916960"/>
                  <a:gd name="connsiteX3" fmla="*/ 2204221 w 2204221"/>
                  <a:gd name="connsiteY3" fmla="*/ 152830 h 916960"/>
                  <a:gd name="connsiteX4" fmla="*/ 2204221 w 2204221"/>
                  <a:gd name="connsiteY4" fmla="*/ 764130 h 916960"/>
                  <a:gd name="connsiteX5" fmla="*/ 2051391 w 2204221"/>
                  <a:gd name="connsiteY5" fmla="*/ 916960 h 916960"/>
                  <a:gd name="connsiteX6" fmla="*/ 152830 w 2204221"/>
                  <a:gd name="connsiteY6" fmla="*/ 916960 h 916960"/>
                  <a:gd name="connsiteX7" fmla="*/ 0 w 2204221"/>
                  <a:gd name="connsiteY7" fmla="*/ 764130 h 916960"/>
                  <a:gd name="connsiteX8" fmla="*/ 0 w 2204221"/>
                  <a:gd name="connsiteY8" fmla="*/ 152830 h 91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21" h="916960">
                    <a:moveTo>
                      <a:pt x="0" y="152830"/>
                    </a:moveTo>
                    <a:cubicBezTo>
                      <a:pt x="0" y="68424"/>
                      <a:pt x="68424" y="0"/>
                      <a:pt x="152830" y="0"/>
                    </a:cubicBezTo>
                    <a:lnTo>
                      <a:pt x="2051391" y="0"/>
                    </a:lnTo>
                    <a:cubicBezTo>
                      <a:pt x="2135797" y="0"/>
                      <a:pt x="2204221" y="68424"/>
                      <a:pt x="2204221" y="152830"/>
                    </a:cubicBezTo>
                    <a:lnTo>
                      <a:pt x="2204221" y="764130"/>
                    </a:lnTo>
                    <a:cubicBezTo>
                      <a:pt x="2204221" y="848536"/>
                      <a:pt x="2135797" y="916960"/>
                      <a:pt x="2051391" y="916960"/>
                    </a:cubicBezTo>
                    <a:lnTo>
                      <a:pt x="152830" y="916960"/>
                    </a:lnTo>
                    <a:cubicBezTo>
                      <a:pt x="68424" y="916960"/>
                      <a:pt x="0" y="848536"/>
                      <a:pt x="0" y="764130"/>
                    </a:cubicBezTo>
                    <a:lnTo>
                      <a:pt x="0" y="15283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5722" tIns="75242" rIns="105722" bIns="75242" numCol="1" spcCol="1270" anchor="ctr" anchorCtr="0">
                <a:noAutofit/>
              </a:bodyPr>
              <a:lstStyle/>
              <a:p>
                <a:pPr marL="0" lvl="0" indent="0" algn="ctr" defTabSz="711200">
                  <a:lnSpc>
                    <a:spcPct val="90000"/>
                  </a:lnSpc>
                  <a:spcBef>
                    <a:spcPct val="0"/>
                  </a:spcBef>
                  <a:spcAft>
                    <a:spcPct val="35000"/>
                  </a:spcAft>
                  <a:buNone/>
                </a:pPr>
                <a:r>
                  <a:rPr lang="en-US" b="1" kern="1200"/>
                  <a:t>Step 1. Skills and EQF Levels matching</a:t>
                </a:r>
                <a:endParaRPr lang="it-IT" kern="1200"/>
              </a:p>
            </p:txBody>
          </p:sp>
          <p:sp>
            <p:nvSpPr>
              <p:cNvPr id="9" name="Figura a mano libera: forma 8">
                <a:extLst>
                  <a:ext uri="{FF2B5EF4-FFF2-40B4-BE49-F238E27FC236}">
                    <a16:creationId xmlns:a16="http://schemas.microsoft.com/office/drawing/2014/main" id="{FBEAE2FD-AA46-1536-F14A-60EDE73B8AA7}"/>
                  </a:ext>
                </a:extLst>
              </p:cNvPr>
              <p:cNvSpPr/>
              <p:nvPr/>
            </p:nvSpPr>
            <p:spPr>
              <a:xfrm>
                <a:off x="4037162" y="3293847"/>
                <a:ext cx="2204221" cy="916960"/>
              </a:xfrm>
              <a:custGeom>
                <a:avLst/>
                <a:gdLst>
                  <a:gd name="connsiteX0" fmla="*/ 0 w 2204221"/>
                  <a:gd name="connsiteY0" fmla="*/ 152830 h 916960"/>
                  <a:gd name="connsiteX1" fmla="*/ 152830 w 2204221"/>
                  <a:gd name="connsiteY1" fmla="*/ 0 h 916960"/>
                  <a:gd name="connsiteX2" fmla="*/ 2051391 w 2204221"/>
                  <a:gd name="connsiteY2" fmla="*/ 0 h 916960"/>
                  <a:gd name="connsiteX3" fmla="*/ 2204221 w 2204221"/>
                  <a:gd name="connsiteY3" fmla="*/ 152830 h 916960"/>
                  <a:gd name="connsiteX4" fmla="*/ 2204221 w 2204221"/>
                  <a:gd name="connsiteY4" fmla="*/ 764130 h 916960"/>
                  <a:gd name="connsiteX5" fmla="*/ 2051391 w 2204221"/>
                  <a:gd name="connsiteY5" fmla="*/ 916960 h 916960"/>
                  <a:gd name="connsiteX6" fmla="*/ 152830 w 2204221"/>
                  <a:gd name="connsiteY6" fmla="*/ 916960 h 916960"/>
                  <a:gd name="connsiteX7" fmla="*/ 0 w 2204221"/>
                  <a:gd name="connsiteY7" fmla="*/ 764130 h 916960"/>
                  <a:gd name="connsiteX8" fmla="*/ 0 w 2204221"/>
                  <a:gd name="connsiteY8" fmla="*/ 152830 h 91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21" h="916960">
                    <a:moveTo>
                      <a:pt x="0" y="152830"/>
                    </a:moveTo>
                    <a:cubicBezTo>
                      <a:pt x="0" y="68424"/>
                      <a:pt x="68424" y="0"/>
                      <a:pt x="152830" y="0"/>
                    </a:cubicBezTo>
                    <a:lnTo>
                      <a:pt x="2051391" y="0"/>
                    </a:lnTo>
                    <a:cubicBezTo>
                      <a:pt x="2135797" y="0"/>
                      <a:pt x="2204221" y="68424"/>
                      <a:pt x="2204221" y="152830"/>
                    </a:cubicBezTo>
                    <a:lnTo>
                      <a:pt x="2204221" y="764130"/>
                    </a:lnTo>
                    <a:cubicBezTo>
                      <a:pt x="2204221" y="848536"/>
                      <a:pt x="2135797" y="916960"/>
                      <a:pt x="2051391" y="916960"/>
                    </a:cubicBezTo>
                    <a:lnTo>
                      <a:pt x="152830" y="916960"/>
                    </a:lnTo>
                    <a:cubicBezTo>
                      <a:pt x="68424" y="916960"/>
                      <a:pt x="0" y="848536"/>
                      <a:pt x="0" y="764130"/>
                    </a:cubicBezTo>
                    <a:lnTo>
                      <a:pt x="0" y="15283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5722" tIns="75242" rIns="105722" bIns="75242" numCol="1" spcCol="1270" anchor="ctr" anchorCtr="0">
                <a:noAutofit/>
              </a:bodyPr>
              <a:lstStyle/>
              <a:p>
                <a:pPr marL="0" lvl="0" indent="0" algn="ctr" defTabSz="711200">
                  <a:lnSpc>
                    <a:spcPct val="90000"/>
                  </a:lnSpc>
                  <a:spcBef>
                    <a:spcPct val="0"/>
                  </a:spcBef>
                  <a:spcAft>
                    <a:spcPct val="35000"/>
                  </a:spcAft>
                  <a:buNone/>
                </a:pPr>
                <a:r>
                  <a:rPr lang="en-US" b="1" kern="1200"/>
                  <a:t>Step 2. Occupational profiles clustering and </a:t>
                </a:r>
                <a:r>
                  <a:rPr lang="en-US" b="1" kern="1200" err="1"/>
                  <a:t>programme</a:t>
                </a:r>
                <a:r>
                  <a:rPr lang="en-US" b="1" kern="1200"/>
                  <a:t> selection</a:t>
                </a:r>
                <a:endParaRPr lang="it-IT" b="1" kern="1200"/>
              </a:p>
            </p:txBody>
          </p:sp>
          <p:sp>
            <p:nvSpPr>
              <p:cNvPr id="10" name="Figura a mano libera: forma 9">
                <a:extLst>
                  <a:ext uri="{FF2B5EF4-FFF2-40B4-BE49-F238E27FC236}">
                    <a16:creationId xmlns:a16="http://schemas.microsoft.com/office/drawing/2014/main" id="{38DDEF71-4414-B89F-781F-5E99A09623D8}"/>
                  </a:ext>
                </a:extLst>
              </p:cNvPr>
              <p:cNvSpPr/>
              <p:nvPr/>
            </p:nvSpPr>
            <p:spPr>
              <a:xfrm>
                <a:off x="6241382" y="4348352"/>
                <a:ext cx="3918616" cy="733569"/>
              </a:xfrm>
              <a:custGeom>
                <a:avLst/>
                <a:gdLst>
                  <a:gd name="connsiteX0" fmla="*/ 122264 w 733568"/>
                  <a:gd name="connsiteY0" fmla="*/ 0 h 3918615"/>
                  <a:gd name="connsiteX1" fmla="*/ 611304 w 733568"/>
                  <a:gd name="connsiteY1" fmla="*/ 0 h 3918615"/>
                  <a:gd name="connsiteX2" fmla="*/ 733568 w 733568"/>
                  <a:gd name="connsiteY2" fmla="*/ 122264 h 3918615"/>
                  <a:gd name="connsiteX3" fmla="*/ 733568 w 733568"/>
                  <a:gd name="connsiteY3" fmla="*/ 3918615 h 3918615"/>
                  <a:gd name="connsiteX4" fmla="*/ 733568 w 733568"/>
                  <a:gd name="connsiteY4" fmla="*/ 3918615 h 3918615"/>
                  <a:gd name="connsiteX5" fmla="*/ 0 w 733568"/>
                  <a:gd name="connsiteY5" fmla="*/ 3918615 h 3918615"/>
                  <a:gd name="connsiteX6" fmla="*/ 0 w 733568"/>
                  <a:gd name="connsiteY6" fmla="*/ 3918615 h 3918615"/>
                  <a:gd name="connsiteX7" fmla="*/ 0 w 733568"/>
                  <a:gd name="connsiteY7" fmla="*/ 122264 h 3918615"/>
                  <a:gd name="connsiteX8" fmla="*/ 122264 w 733568"/>
                  <a:gd name="connsiteY8" fmla="*/ 0 h 391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568" h="3918615">
                    <a:moveTo>
                      <a:pt x="733568" y="653119"/>
                    </a:moveTo>
                    <a:lnTo>
                      <a:pt x="733568" y="3265496"/>
                    </a:lnTo>
                    <a:cubicBezTo>
                      <a:pt x="733568" y="3626205"/>
                      <a:pt x="723321" y="3918612"/>
                      <a:pt x="710680" y="3918612"/>
                    </a:cubicBezTo>
                    <a:lnTo>
                      <a:pt x="0" y="3918612"/>
                    </a:lnTo>
                    <a:lnTo>
                      <a:pt x="0" y="3918612"/>
                    </a:lnTo>
                    <a:lnTo>
                      <a:pt x="0" y="3"/>
                    </a:lnTo>
                    <a:lnTo>
                      <a:pt x="0" y="3"/>
                    </a:lnTo>
                    <a:lnTo>
                      <a:pt x="710680" y="3"/>
                    </a:lnTo>
                    <a:cubicBezTo>
                      <a:pt x="723321" y="3"/>
                      <a:pt x="733568" y="292410"/>
                      <a:pt x="733568" y="653119"/>
                    </a:cubicBez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1" tIns="75815" rIns="115820" bIns="75816" numCol="1" spcCol="1270" anchor="ctr" anchorCtr="0">
                <a:noAutofit/>
              </a:bodyPr>
              <a:lstStyle/>
              <a:p>
                <a:pPr marL="228600" lvl="1" indent="-228600" algn="l" defTabSz="933450">
                  <a:lnSpc>
                    <a:spcPct val="90000"/>
                  </a:lnSpc>
                  <a:spcBef>
                    <a:spcPct val="0"/>
                  </a:spcBef>
                  <a:spcAft>
                    <a:spcPct val="15000"/>
                  </a:spcAft>
                  <a:buChar char="•"/>
                </a:pPr>
                <a:r>
                  <a:rPr lang="en-US" sz="1600">
                    <a:latin typeface="Tw Cen MT" panose="020B0602020104020603" pitchFamily="34" charset="0"/>
                  </a:rPr>
                  <a:t>The subskills identified for each field in step1are assigned to the selected programmes</a:t>
                </a:r>
              </a:p>
              <a:p>
                <a:pPr marL="228600" lvl="1" indent="-228600" algn="l" defTabSz="933450">
                  <a:lnSpc>
                    <a:spcPct val="90000"/>
                  </a:lnSpc>
                  <a:spcBef>
                    <a:spcPct val="0"/>
                  </a:spcBef>
                  <a:spcAft>
                    <a:spcPct val="15000"/>
                  </a:spcAft>
                  <a:buChar char="•"/>
                </a:pPr>
                <a:r>
                  <a:rPr lang="en-US" sz="1600">
                    <a:latin typeface="Tw Cen MT" panose="020B0602020104020603" pitchFamily="34" charset="0"/>
                  </a:rPr>
                  <a:t>Identification of programmes contents considering T4.4 results</a:t>
                </a:r>
                <a:endParaRPr lang="it-IT" sz="1600">
                  <a:latin typeface="Tw Cen MT" panose="020B0602020104020603" pitchFamily="34" charset="0"/>
                </a:endParaRPr>
              </a:p>
            </p:txBody>
          </p:sp>
          <p:sp>
            <p:nvSpPr>
              <p:cNvPr id="11" name="Figura a mano libera: forma 10">
                <a:extLst>
                  <a:ext uri="{FF2B5EF4-FFF2-40B4-BE49-F238E27FC236}">
                    <a16:creationId xmlns:a16="http://schemas.microsoft.com/office/drawing/2014/main" id="{3A045012-09E2-632C-FC04-5D5AF2C41BFF}"/>
                  </a:ext>
                </a:extLst>
              </p:cNvPr>
              <p:cNvSpPr/>
              <p:nvPr/>
            </p:nvSpPr>
            <p:spPr>
              <a:xfrm>
                <a:off x="4037162" y="4256656"/>
                <a:ext cx="2204221" cy="916960"/>
              </a:xfrm>
              <a:custGeom>
                <a:avLst/>
                <a:gdLst>
                  <a:gd name="connsiteX0" fmla="*/ 0 w 2204221"/>
                  <a:gd name="connsiteY0" fmla="*/ 152830 h 916960"/>
                  <a:gd name="connsiteX1" fmla="*/ 152830 w 2204221"/>
                  <a:gd name="connsiteY1" fmla="*/ 0 h 916960"/>
                  <a:gd name="connsiteX2" fmla="*/ 2051391 w 2204221"/>
                  <a:gd name="connsiteY2" fmla="*/ 0 h 916960"/>
                  <a:gd name="connsiteX3" fmla="*/ 2204221 w 2204221"/>
                  <a:gd name="connsiteY3" fmla="*/ 152830 h 916960"/>
                  <a:gd name="connsiteX4" fmla="*/ 2204221 w 2204221"/>
                  <a:gd name="connsiteY4" fmla="*/ 764130 h 916960"/>
                  <a:gd name="connsiteX5" fmla="*/ 2051391 w 2204221"/>
                  <a:gd name="connsiteY5" fmla="*/ 916960 h 916960"/>
                  <a:gd name="connsiteX6" fmla="*/ 152830 w 2204221"/>
                  <a:gd name="connsiteY6" fmla="*/ 916960 h 916960"/>
                  <a:gd name="connsiteX7" fmla="*/ 0 w 2204221"/>
                  <a:gd name="connsiteY7" fmla="*/ 764130 h 916960"/>
                  <a:gd name="connsiteX8" fmla="*/ 0 w 2204221"/>
                  <a:gd name="connsiteY8" fmla="*/ 152830 h 91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21" h="916960">
                    <a:moveTo>
                      <a:pt x="0" y="152830"/>
                    </a:moveTo>
                    <a:cubicBezTo>
                      <a:pt x="0" y="68424"/>
                      <a:pt x="68424" y="0"/>
                      <a:pt x="152830" y="0"/>
                    </a:cubicBezTo>
                    <a:lnTo>
                      <a:pt x="2051391" y="0"/>
                    </a:lnTo>
                    <a:cubicBezTo>
                      <a:pt x="2135797" y="0"/>
                      <a:pt x="2204221" y="68424"/>
                      <a:pt x="2204221" y="152830"/>
                    </a:cubicBezTo>
                    <a:lnTo>
                      <a:pt x="2204221" y="764130"/>
                    </a:lnTo>
                    <a:cubicBezTo>
                      <a:pt x="2204221" y="848536"/>
                      <a:pt x="2135797" y="916960"/>
                      <a:pt x="2051391" y="916960"/>
                    </a:cubicBezTo>
                    <a:lnTo>
                      <a:pt x="152830" y="916960"/>
                    </a:lnTo>
                    <a:cubicBezTo>
                      <a:pt x="68424" y="916960"/>
                      <a:pt x="0" y="848536"/>
                      <a:pt x="0" y="764130"/>
                    </a:cubicBezTo>
                    <a:lnTo>
                      <a:pt x="0" y="15283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5722" tIns="75242" rIns="105722" bIns="75242" numCol="1" spcCol="1270" anchor="ctr" anchorCtr="0">
                <a:noAutofit/>
              </a:bodyPr>
              <a:lstStyle/>
              <a:p>
                <a:pPr marL="0" lvl="0" indent="0" algn="ctr" defTabSz="711200">
                  <a:lnSpc>
                    <a:spcPct val="90000"/>
                  </a:lnSpc>
                  <a:spcBef>
                    <a:spcPct val="0"/>
                  </a:spcBef>
                  <a:spcAft>
                    <a:spcPct val="35000"/>
                  </a:spcAft>
                  <a:buFont typeface="Symbol" panose="05050102010706020507" pitchFamily="18" charset="2"/>
                  <a:buNone/>
                </a:pPr>
                <a:r>
                  <a:rPr lang="en-US" b="1" kern="1200"/>
                  <a:t>Step 3. Skills and </a:t>
                </a:r>
                <a:r>
                  <a:rPr lang="en-US" b="1" kern="1200" err="1"/>
                  <a:t>programme</a:t>
                </a:r>
                <a:r>
                  <a:rPr lang="en-US" b="1" kern="1200"/>
                  <a:t> matching</a:t>
                </a:r>
                <a:endParaRPr lang="it-IT" kern="1200"/>
              </a:p>
            </p:txBody>
          </p:sp>
          <p:sp>
            <p:nvSpPr>
              <p:cNvPr id="12" name="Figura a mano libera: forma 11">
                <a:extLst>
                  <a:ext uri="{FF2B5EF4-FFF2-40B4-BE49-F238E27FC236}">
                    <a16:creationId xmlns:a16="http://schemas.microsoft.com/office/drawing/2014/main" id="{BCB2E815-7812-522E-90BC-C3AE3FDC0673}"/>
                  </a:ext>
                </a:extLst>
              </p:cNvPr>
              <p:cNvSpPr/>
              <p:nvPr/>
            </p:nvSpPr>
            <p:spPr>
              <a:xfrm>
                <a:off x="6241382" y="5311161"/>
                <a:ext cx="3918616" cy="733569"/>
              </a:xfrm>
              <a:custGeom>
                <a:avLst/>
                <a:gdLst>
                  <a:gd name="connsiteX0" fmla="*/ 122264 w 733568"/>
                  <a:gd name="connsiteY0" fmla="*/ 0 h 3918615"/>
                  <a:gd name="connsiteX1" fmla="*/ 611304 w 733568"/>
                  <a:gd name="connsiteY1" fmla="*/ 0 h 3918615"/>
                  <a:gd name="connsiteX2" fmla="*/ 733568 w 733568"/>
                  <a:gd name="connsiteY2" fmla="*/ 122264 h 3918615"/>
                  <a:gd name="connsiteX3" fmla="*/ 733568 w 733568"/>
                  <a:gd name="connsiteY3" fmla="*/ 3918615 h 3918615"/>
                  <a:gd name="connsiteX4" fmla="*/ 733568 w 733568"/>
                  <a:gd name="connsiteY4" fmla="*/ 3918615 h 3918615"/>
                  <a:gd name="connsiteX5" fmla="*/ 0 w 733568"/>
                  <a:gd name="connsiteY5" fmla="*/ 3918615 h 3918615"/>
                  <a:gd name="connsiteX6" fmla="*/ 0 w 733568"/>
                  <a:gd name="connsiteY6" fmla="*/ 3918615 h 3918615"/>
                  <a:gd name="connsiteX7" fmla="*/ 0 w 733568"/>
                  <a:gd name="connsiteY7" fmla="*/ 122264 h 3918615"/>
                  <a:gd name="connsiteX8" fmla="*/ 122264 w 733568"/>
                  <a:gd name="connsiteY8" fmla="*/ 0 h 391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568" h="3918615">
                    <a:moveTo>
                      <a:pt x="733568" y="653119"/>
                    </a:moveTo>
                    <a:lnTo>
                      <a:pt x="733568" y="3265496"/>
                    </a:lnTo>
                    <a:cubicBezTo>
                      <a:pt x="733568" y="3626205"/>
                      <a:pt x="723321" y="3918612"/>
                      <a:pt x="710680" y="3918612"/>
                    </a:cubicBezTo>
                    <a:lnTo>
                      <a:pt x="0" y="3918612"/>
                    </a:lnTo>
                    <a:lnTo>
                      <a:pt x="0" y="3918612"/>
                    </a:lnTo>
                    <a:lnTo>
                      <a:pt x="0" y="3"/>
                    </a:lnTo>
                    <a:lnTo>
                      <a:pt x="0" y="3"/>
                    </a:lnTo>
                    <a:lnTo>
                      <a:pt x="710680" y="3"/>
                    </a:lnTo>
                    <a:cubicBezTo>
                      <a:pt x="723321" y="3"/>
                      <a:pt x="733568" y="292410"/>
                      <a:pt x="733568" y="653119"/>
                    </a:cubicBez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1" tIns="75815" rIns="115820" bIns="75816" numCol="1" spcCol="1270" anchor="ctr" anchorCtr="0">
                <a:noAutofit/>
              </a:bodyPr>
              <a:lstStyle/>
              <a:p>
                <a:pPr marL="342900" lvl="1" indent="-342900" algn="l" defTabSz="933450">
                  <a:lnSpc>
                    <a:spcPct val="90000"/>
                  </a:lnSpc>
                  <a:spcBef>
                    <a:spcPct val="0"/>
                  </a:spcBef>
                  <a:spcAft>
                    <a:spcPct val="15000"/>
                  </a:spcAft>
                  <a:buFont typeface="Arial" panose="020B0604020202020204" pitchFamily="34" charset="0"/>
                  <a:buChar char="•"/>
                </a:pPr>
                <a:r>
                  <a:rPr lang="it-IT" sz="1600">
                    <a:latin typeface="Tw Cen MT" panose="020B0602020104020603" pitchFamily="34" charset="0"/>
                  </a:rPr>
                  <a:t>Identification of the </a:t>
                </a:r>
                <a:r>
                  <a:rPr lang="it-IT" sz="1600" err="1">
                    <a:latin typeface="Tw Cen MT" panose="020B0602020104020603" pitchFamily="34" charset="0"/>
                  </a:rPr>
                  <a:t>relevant</a:t>
                </a:r>
                <a:r>
                  <a:rPr lang="it-IT" sz="1600">
                    <a:latin typeface="Tw Cen MT" panose="020B0602020104020603" pitchFamily="34" charset="0"/>
                  </a:rPr>
                  <a:t> EQF </a:t>
                </a:r>
                <a:r>
                  <a:rPr lang="it-IT" sz="1600" err="1">
                    <a:latin typeface="Tw Cen MT" panose="020B0602020104020603" pitchFamily="34" charset="0"/>
                  </a:rPr>
                  <a:t>level</a:t>
                </a:r>
                <a:r>
                  <a:rPr lang="it-IT" sz="1600">
                    <a:latin typeface="Tw Cen MT" panose="020B0602020104020603" pitchFamily="34" charset="0"/>
                  </a:rPr>
                  <a:t> for </a:t>
                </a:r>
                <a:r>
                  <a:rPr lang="it-IT" sz="1600" err="1">
                    <a:latin typeface="Tw Cen MT" panose="020B0602020104020603" pitchFamily="34" charset="0"/>
                  </a:rPr>
                  <a:t>each</a:t>
                </a:r>
                <a:r>
                  <a:rPr lang="it-IT" sz="1600">
                    <a:latin typeface="Tw Cen MT" panose="020B0602020104020603" pitchFamily="34" charset="0"/>
                  </a:rPr>
                  <a:t> </a:t>
                </a:r>
                <a:r>
                  <a:rPr lang="it-IT" sz="1600" err="1">
                    <a:latin typeface="Tw Cen MT" panose="020B0602020104020603" pitchFamily="34" charset="0"/>
                  </a:rPr>
                  <a:t>programme</a:t>
                </a:r>
                <a:endParaRPr lang="it-IT" sz="1600">
                  <a:latin typeface="Tw Cen MT" panose="020B0602020104020603" pitchFamily="34" charset="0"/>
                </a:endParaRPr>
              </a:p>
              <a:p>
                <a:pPr marL="342900" lvl="1" indent="-342900" algn="l" defTabSz="933450">
                  <a:lnSpc>
                    <a:spcPct val="90000"/>
                  </a:lnSpc>
                  <a:spcBef>
                    <a:spcPct val="0"/>
                  </a:spcBef>
                  <a:spcAft>
                    <a:spcPct val="15000"/>
                  </a:spcAft>
                  <a:buFont typeface="Arial" panose="020B0604020202020204" pitchFamily="34" charset="0"/>
                  <a:buChar char="•"/>
                </a:pPr>
                <a:r>
                  <a:rPr lang="it-IT" sz="1600" err="1">
                    <a:latin typeface="Tw Cen MT" panose="020B0602020104020603" pitchFamily="34" charset="0"/>
                  </a:rPr>
                  <a:t>Programme</a:t>
                </a:r>
                <a:r>
                  <a:rPr lang="it-IT" sz="1600">
                    <a:latin typeface="Tw Cen MT" panose="020B0602020104020603" pitchFamily="34" charset="0"/>
                  </a:rPr>
                  <a:t> </a:t>
                </a:r>
                <a:r>
                  <a:rPr lang="it-IT" sz="1600" err="1">
                    <a:latin typeface="Tw Cen MT" panose="020B0602020104020603" pitchFamily="34" charset="0"/>
                  </a:rPr>
                  <a:t>refinement</a:t>
                </a:r>
                <a:r>
                  <a:rPr lang="it-IT" sz="1600">
                    <a:latin typeface="Tw Cen MT" panose="020B0602020104020603" pitchFamily="34" charset="0"/>
                  </a:rPr>
                  <a:t> </a:t>
                </a:r>
                <a:r>
                  <a:rPr lang="it-IT" sz="1600" err="1">
                    <a:latin typeface="Tw Cen MT" panose="020B0602020104020603" pitchFamily="34" charset="0"/>
                  </a:rPr>
                  <a:t>according</a:t>
                </a:r>
                <a:r>
                  <a:rPr lang="it-IT" sz="1600">
                    <a:latin typeface="Tw Cen MT" panose="020B0602020104020603" pitchFamily="34" charset="0"/>
                  </a:rPr>
                  <a:t> to EQF </a:t>
                </a:r>
                <a:r>
                  <a:rPr lang="it-IT" sz="1600" err="1">
                    <a:latin typeface="Tw Cen MT" panose="020B0602020104020603" pitchFamily="34" charset="0"/>
                  </a:rPr>
                  <a:t>level</a:t>
                </a:r>
                <a:r>
                  <a:rPr lang="it-IT" sz="1600">
                    <a:latin typeface="Tw Cen MT" panose="020B0602020104020603" pitchFamily="34" charset="0"/>
                  </a:rPr>
                  <a:t> </a:t>
                </a:r>
                <a:r>
                  <a:rPr lang="it-IT" sz="1600" err="1">
                    <a:latin typeface="Tw Cen MT" panose="020B0602020104020603" pitchFamily="34" charset="0"/>
                  </a:rPr>
                  <a:t>requirements</a:t>
                </a:r>
                <a:r>
                  <a:rPr lang="it-IT" sz="1600">
                    <a:latin typeface="Tw Cen MT" panose="020B0602020104020603" pitchFamily="34" charset="0"/>
                  </a:rPr>
                  <a:t>  </a:t>
                </a:r>
              </a:p>
            </p:txBody>
          </p:sp>
          <p:sp>
            <p:nvSpPr>
              <p:cNvPr id="13" name="Figura a mano libera: forma 12">
                <a:extLst>
                  <a:ext uri="{FF2B5EF4-FFF2-40B4-BE49-F238E27FC236}">
                    <a16:creationId xmlns:a16="http://schemas.microsoft.com/office/drawing/2014/main" id="{5784CD32-D1FF-B9AE-3F34-70AD204D1AE0}"/>
                  </a:ext>
                </a:extLst>
              </p:cNvPr>
              <p:cNvSpPr/>
              <p:nvPr/>
            </p:nvSpPr>
            <p:spPr>
              <a:xfrm>
                <a:off x="4037162" y="5219465"/>
                <a:ext cx="2204221" cy="916960"/>
              </a:xfrm>
              <a:custGeom>
                <a:avLst/>
                <a:gdLst>
                  <a:gd name="connsiteX0" fmla="*/ 0 w 2204221"/>
                  <a:gd name="connsiteY0" fmla="*/ 152830 h 916960"/>
                  <a:gd name="connsiteX1" fmla="*/ 152830 w 2204221"/>
                  <a:gd name="connsiteY1" fmla="*/ 0 h 916960"/>
                  <a:gd name="connsiteX2" fmla="*/ 2051391 w 2204221"/>
                  <a:gd name="connsiteY2" fmla="*/ 0 h 916960"/>
                  <a:gd name="connsiteX3" fmla="*/ 2204221 w 2204221"/>
                  <a:gd name="connsiteY3" fmla="*/ 152830 h 916960"/>
                  <a:gd name="connsiteX4" fmla="*/ 2204221 w 2204221"/>
                  <a:gd name="connsiteY4" fmla="*/ 764130 h 916960"/>
                  <a:gd name="connsiteX5" fmla="*/ 2051391 w 2204221"/>
                  <a:gd name="connsiteY5" fmla="*/ 916960 h 916960"/>
                  <a:gd name="connsiteX6" fmla="*/ 152830 w 2204221"/>
                  <a:gd name="connsiteY6" fmla="*/ 916960 h 916960"/>
                  <a:gd name="connsiteX7" fmla="*/ 0 w 2204221"/>
                  <a:gd name="connsiteY7" fmla="*/ 764130 h 916960"/>
                  <a:gd name="connsiteX8" fmla="*/ 0 w 2204221"/>
                  <a:gd name="connsiteY8" fmla="*/ 152830 h 91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221" h="916960">
                    <a:moveTo>
                      <a:pt x="0" y="152830"/>
                    </a:moveTo>
                    <a:cubicBezTo>
                      <a:pt x="0" y="68424"/>
                      <a:pt x="68424" y="0"/>
                      <a:pt x="152830" y="0"/>
                    </a:cubicBezTo>
                    <a:lnTo>
                      <a:pt x="2051391" y="0"/>
                    </a:lnTo>
                    <a:cubicBezTo>
                      <a:pt x="2135797" y="0"/>
                      <a:pt x="2204221" y="68424"/>
                      <a:pt x="2204221" y="152830"/>
                    </a:cubicBezTo>
                    <a:lnTo>
                      <a:pt x="2204221" y="764130"/>
                    </a:lnTo>
                    <a:cubicBezTo>
                      <a:pt x="2204221" y="848536"/>
                      <a:pt x="2135797" y="916960"/>
                      <a:pt x="2051391" y="916960"/>
                    </a:cubicBezTo>
                    <a:lnTo>
                      <a:pt x="152830" y="916960"/>
                    </a:lnTo>
                    <a:cubicBezTo>
                      <a:pt x="68424" y="916960"/>
                      <a:pt x="0" y="848536"/>
                      <a:pt x="0" y="764130"/>
                    </a:cubicBezTo>
                    <a:lnTo>
                      <a:pt x="0" y="15283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5722" tIns="75242" rIns="105722" bIns="75242" numCol="1" spcCol="1270" anchor="ctr" anchorCtr="0">
                <a:noAutofit/>
              </a:bodyPr>
              <a:lstStyle/>
              <a:p>
                <a:pPr marL="0" lvl="0" indent="0" algn="ctr" defTabSz="711200">
                  <a:lnSpc>
                    <a:spcPct val="90000"/>
                  </a:lnSpc>
                  <a:spcBef>
                    <a:spcPct val="0"/>
                  </a:spcBef>
                  <a:spcAft>
                    <a:spcPct val="35000"/>
                  </a:spcAft>
                  <a:buFont typeface="Symbol" panose="05050102010706020507" pitchFamily="18" charset="2"/>
                  <a:buNone/>
                </a:pPr>
                <a:r>
                  <a:rPr lang="en-US" b="1" kern="1200"/>
                  <a:t>Step 4. </a:t>
                </a:r>
                <a:r>
                  <a:rPr lang="en-US" b="1" kern="1200" err="1"/>
                  <a:t>Programme</a:t>
                </a:r>
                <a:r>
                  <a:rPr lang="en-US" b="1" kern="1200"/>
                  <a:t> finalization</a:t>
                </a:r>
                <a:endParaRPr lang="it-IT" kern="1200"/>
              </a:p>
            </p:txBody>
          </p:sp>
        </p:grpSp>
        <p:sp>
          <p:nvSpPr>
            <p:cNvPr id="14" name="Figura a mano libera: forma 13">
              <a:extLst>
                <a:ext uri="{FF2B5EF4-FFF2-40B4-BE49-F238E27FC236}">
                  <a16:creationId xmlns:a16="http://schemas.microsoft.com/office/drawing/2014/main" id="{9A78F5A3-D1A3-A8AE-58EA-BB8E4957DB28}"/>
                </a:ext>
              </a:extLst>
            </p:cNvPr>
            <p:cNvSpPr/>
            <p:nvPr/>
          </p:nvSpPr>
          <p:spPr>
            <a:xfrm>
              <a:off x="6241383" y="3385543"/>
              <a:ext cx="3918616" cy="733569"/>
            </a:xfrm>
            <a:custGeom>
              <a:avLst/>
              <a:gdLst>
                <a:gd name="connsiteX0" fmla="*/ 122264 w 733568"/>
                <a:gd name="connsiteY0" fmla="*/ 0 h 3918615"/>
                <a:gd name="connsiteX1" fmla="*/ 611304 w 733568"/>
                <a:gd name="connsiteY1" fmla="*/ 0 h 3918615"/>
                <a:gd name="connsiteX2" fmla="*/ 733568 w 733568"/>
                <a:gd name="connsiteY2" fmla="*/ 122264 h 3918615"/>
                <a:gd name="connsiteX3" fmla="*/ 733568 w 733568"/>
                <a:gd name="connsiteY3" fmla="*/ 3918615 h 3918615"/>
                <a:gd name="connsiteX4" fmla="*/ 733568 w 733568"/>
                <a:gd name="connsiteY4" fmla="*/ 3918615 h 3918615"/>
                <a:gd name="connsiteX5" fmla="*/ 0 w 733568"/>
                <a:gd name="connsiteY5" fmla="*/ 3918615 h 3918615"/>
                <a:gd name="connsiteX6" fmla="*/ 0 w 733568"/>
                <a:gd name="connsiteY6" fmla="*/ 3918615 h 3918615"/>
                <a:gd name="connsiteX7" fmla="*/ 0 w 733568"/>
                <a:gd name="connsiteY7" fmla="*/ 122264 h 3918615"/>
                <a:gd name="connsiteX8" fmla="*/ 122264 w 733568"/>
                <a:gd name="connsiteY8" fmla="*/ 0 h 391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568" h="3918615">
                  <a:moveTo>
                    <a:pt x="733568" y="653119"/>
                  </a:moveTo>
                  <a:lnTo>
                    <a:pt x="733568" y="3265496"/>
                  </a:lnTo>
                  <a:cubicBezTo>
                    <a:pt x="733568" y="3626205"/>
                    <a:pt x="723321" y="3918612"/>
                    <a:pt x="710680" y="3918612"/>
                  </a:cubicBezTo>
                  <a:lnTo>
                    <a:pt x="0" y="3918612"/>
                  </a:lnTo>
                  <a:lnTo>
                    <a:pt x="0" y="3918612"/>
                  </a:lnTo>
                  <a:lnTo>
                    <a:pt x="0" y="3"/>
                  </a:lnTo>
                  <a:lnTo>
                    <a:pt x="0" y="3"/>
                  </a:lnTo>
                  <a:lnTo>
                    <a:pt x="710680" y="3"/>
                  </a:lnTo>
                  <a:cubicBezTo>
                    <a:pt x="723321" y="3"/>
                    <a:pt x="733568" y="292410"/>
                    <a:pt x="733568" y="653119"/>
                  </a:cubicBez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1" tIns="75815" rIns="115820" bIns="75816" numCol="1" spcCol="1270" anchor="ctr" anchorCtr="0">
              <a:noAutofit/>
            </a:bodyPr>
            <a:lstStyle/>
            <a:p>
              <a:pPr marL="228600" lvl="1" indent="-228600" algn="l" defTabSz="933450">
                <a:lnSpc>
                  <a:spcPct val="90000"/>
                </a:lnSpc>
                <a:spcBef>
                  <a:spcPct val="0"/>
                </a:spcBef>
                <a:spcAft>
                  <a:spcPct val="15000"/>
                </a:spcAft>
                <a:buChar char="•"/>
              </a:pPr>
              <a:r>
                <a:rPr lang="en-US" sz="1600">
                  <a:effectLst/>
                  <a:latin typeface="Tw Cen MT" panose="020B0602020104020603" pitchFamily="34" charset="0"/>
                  <a:ea typeface="Tw Cen MT" panose="020B0602020104020603" pitchFamily="34" charset="0"/>
                  <a:cs typeface="Times New Roman (Body CS)"/>
                </a:rPr>
                <a:t>Analysis of the relevant occupational profiles for railway infrastructure managers and operators </a:t>
              </a:r>
            </a:p>
            <a:p>
              <a:pPr marL="228600" lvl="1" indent="-228600" algn="l" defTabSz="933450">
                <a:lnSpc>
                  <a:spcPct val="90000"/>
                </a:lnSpc>
                <a:spcBef>
                  <a:spcPct val="0"/>
                </a:spcBef>
                <a:spcAft>
                  <a:spcPct val="15000"/>
                </a:spcAft>
                <a:buChar char="•"/>
              </a:pPr>
              <a:r>
                <a:rPr lang="en-US" sz="1600">
                  <a:effectLst/>
                  <a:latin typeface="Tw Cen MT" panose="020B0602020104020603" pitchFamily="34" charset="0"/>
                  <a:ea typeface="Tw Cen MT" panose="020B0602020104020603" pitchFamily="34" charset="0"/>
                  <a:cs typeface="Times New Roman (Body CS)"/>
                </a:rPr>
                <a:t>Analysis of the relevant occupational profiles for rail suppliers</a:t>
              </a:r>
            </a:p>
            <a:p>
              <a:pPr marL="228600" lvl="1" indent="-228600" algn="l" defTabSz="933450">
                <a:lnSpc>
                  <a:spcPct val="90000"/>
                </a:lnSpc>
                <a:spcBef>
                  <a:spcPct val="0"/>
                </a:spcBef>
                <a:spcAft>
                  <a:spcPct val="15000"/>
                </a:spcAft>
                <a:buChar char="•"/>
              </a:pPr>
              <a:r>
                <a:rPr lang="en-US" sz="1600">
                  <a:effectLst/>
                  <a:latin typeface="Tw Cen MT" panose="020B0602020104020603" pitchFamily="34" charset="0"/>
                  <a:ea typeface="Tw Cen MT" panose="020B0602020104020603" pitchFamily="34" charset="0"/>
                  <a:cs typeface="Times New Roman (Body CS)"/>
                </a:rPr>
                <a:t>Clustering of profiles according to the educational programmes </a:t>
              </a:r>
              <a:endParaRPr lang="it-IT" sz="1600" kern="1200"/>
            </a:p>
          </p:txBody>
        </p:sp>
      </p:grpSp>
      <p:sp>
        <p:nvSpPr>
          <p:cNvPr id="3" name="Freeform 48">
            <a:extLst>
              <a:ext uri="{FF2B5EF4-FFF2-40B4-BE49-F238E27FC236}">
                <a16:creationId xmlns:a16="http://schemas.microsoft.com/office/drawing/2014/main" id="{9913D51A-B38E-A519-86FD-949E2BA2922C}"/>
              </a:ext>
            </a:extLst>
          </p:cNvPr>
          <p:cNvSpPr>
            <a:spLocks noChangeAspect="1"/>
          </p:cNvSpPr>
          <p:nvPr/>
        </p:nvSpPr>
        <p:spPr bwMode="auto">
          <a:xfrm>
            <a:off x="270250" y="3782285"/>
            <a:ext cx="2383603" cy="2382822"/>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ctr" anchorCtr="0" compatLnSpc="1">
            <a:prstTxWarp prst="textNoShape">
              <a:avLst/>
            </a:prstTxWarp>
          </a:bodyPr>
          <a:lstStyle/>
          <a:p>
            <a:pPr algn="ctr"/>
            <a:r>
              <a:rPr lang="en-US" sz="2200" b="1">
                <a:solidFill>
                  <a:schemeClr val="tx1"/>
                </a:solidFill>
              </a:rPr>
              <a:t>..considering the definition of innovative contents</a:t>
            </a:r>
          </a:p>
        </p:txBody>
      </p:sp>
    </p:spTree>
    <p:extLst>
      <p:ext uri="{BB962C8B-B14F-4D97-AF65-F5344CB8AC3E}">
        <p14:creationId xmlns:p14="http://schemas.microsoft.com/office/powerpoint/2010/main" val="2374017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2DE1F-963A-48D5-B819-0FD535A25B3C}"/>
              </a:ext>
            </a:extLst>
          </p:cNvPr>
          <p:cNvSpPr>
            <a:spLocks noGrp="1"/>
          </p:cNvSpPr>
          <p:nvPr>
            <p:ph type="title"/>
          </p:nvPr>
        </p:nvSpPr>
        <p:spPr/>
        <p:txBody>
          <a:bodyPr/>
          <a:lstStyle/>
          <a:p>
            <a:pPr algn="l"/>
            <a:r>
              <a:rPr lang="en-US"/>
              <a:t>RESULTS on programmes validation</a:t>
            </a:r>
            <a:endParaRPr lang="en-US" b="1"/>
          </a:p>
        </p:txBody>
      </p:sp>
      <p:graphicFrame>
        <p:nvGraphicFramePr>
          <p:cNvPr id="6" name="Diagramm 5">
            <a:extLst>
              <a:ext uri="{FF2B5EF4-FFF2-40B4-BE49-F238E27FC236}">
                <a16:creationId xmlns:a16="http://schemas.microsoft.com/office/drawing/2014/main" id="{8DC34B2E-1506-4E18-BF69-9F02B752E850}"/>
              </a:ext>
            </a:extLst>
          </p:cNvPr>
          <p:cNvGraphicFramePr/>
          <p:nvPr/>
        </p:nvGraphicFramePr>
        <p:xfrm>
          <a:off x="2842300" y="1760305"/>
          <a:ext cx="6983175" cy="4181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hteck: abgerundete Ecken 6">
            <a:extLst>
              <a:ext uri="{FF2B5EF4-FFF2-40B4-BE49-F238E27FC236}">
                <a16:creationId xmlns:a16="http://schemas.microsoft.com/office/drawing/2014/main" id="{769C94E1-3143-4D28-AAC7-5D56B2F72B10}"/>
              </a:ext>
            </a:extLst>
          </p:cNvPr>
          <p:cNvSpPr/>
          <p:nvPr/>
        </p:nvSpPr>
        <p:spPr>
          <a:xfrm rot="16200000">
            <a:off x="9119685" y="3206738"/>
            <a:ext cx="3821593" cy="928727"/>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GB">
                <a:solidFill>
                  <a:schemeClr val="accent5">
                    <a:lumMod val="50000"/>
                  </a:schemeClr>
                </a:solidFill>
              </a:rPr>
              <a:t>compare and evaluate adequateness regarding identified skill gaps</a:t>
            </a:r>
          </a:p>
        </p:txBody>
      </p:sp>
      <p:sp>
        <p:nvSpPr>
          <p:cNvPr id="18" name="Pfeil: nach links und rechts 17">
            <a:extLst>
              <a:ext uri="{FF2B5EF4-FFF2-40B4-BE49-F238E27FC236}">
                <a16:creationId xmlns:a16="http://schemas.microsoft.com/office/drawing/2014/main" id="{D635D523-68FB-44B0-A53C-D302D16FD0C0}"/>
              </a:ext>
            </a:extLst>
          </p:cNvPr>
          <p:cNvSpPr/>
          <p:nvPr/>
        </p:nvSpPr>
        <p:spPr>
          <a:xfrm rot="10800000">
            <a:off x="9699271" y="1978001"/>
            <a:ext cx="866847" cy="603849"/>
          </a:xfrm>
          <a:prstGeom prst="leftRightArrow">
            <a:avLst/>
          </a:prstGeom>
          <a:solidFill>
            <a:schemeClr val="accent1">
              <a:lumMod val="20000"/>
              <a:lumOff val="8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nach links und rechts 18">
            <a:extLst>
              <a:ext uri="{FF2B5EF4-FFF2-40B4-BE49-F238E27FC236}">
                <a16:creationId xmlns:a16="http://schemas.microsoft.com/office/drawing/2014/main" id="{6960C5CE-9AB1-4379-937B-7852E48BCCCC}"/>
              </a:ext>
            </a:extLst>
          </p:cNvPr>
          <p:cNvSpPr/>
          <p:nvPr/>
        </p:nvSpPr>
        <p:spPr>
          <a:xfrm rot="10800000">
            <a:off x="9699271" y="3272016"/>
            <a:ext cx="866847" cy="603849"/>
          </a:xfrm>
          <a:prstGeom prst="leftRightArrow">
            <a:avLst/>
          </a:prstGeom>
          <a:solidFill>
            <a:schemeClr val="accent1">
              <a:lumMod val="20000"/>
              <a:lumOff val="8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Pfeil: nach links und rechts 19">
            <a:extLst>
              <a:ext uri="{FF2B5EF4-FFF2-40B4-BE49-F238E27FC236}">
                <a16:creationId xmlns:a16="http://schemas.microsoft.com/office/drawing/2014/main" id="{03AFAD32-E873-493B-9C2F-1C73E839F0DD}"/>
              </a:ext>
            </a:extLst>
          </p:cNvPr>
          <p:cNvSpPr/>
          <p:nvPr/>
        </p:nvSpPr>
        <p:spPr>
          <a:xfrm rot="10800000">
            <a:off x="9699271" y="4515659"/>
            <a:ext cx="866847" cy="603849"/>
          </a:xfrm>
          <a:prstGeom prst="leftRightArrow">
            <a:avLst/>
          </a:prstGeom>
          <a:solidFill>
            <a:schemeClr val="accent1">
              <a:lumMod val="20000"/>
              <a:lumOff val="8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C14352C6-883D-4762-9BB7-4EE34FE775F8}"/>
              </a:ext>
            </a:extLst>
          </p:cNvPr>
          <p:cNvSpPr txBox="1"/>
          <p:nvPr/>
        </p:nvSpPr>
        <p:spPr>
          <a:xfrm>
            <a:off x="6743331" y="4207882"/>
            <a:ext cx="2466108" cy="30777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10800000" scaled="1"/>
            <a:tileRect/>
          </a:gradFill>
        </p:spPr>
        <p:txBody>
          <a:bodyPr wrap="square" rtlCol="0">
            <a:spAutoFit/>
          </a:bodyPr>
          <a:lstStyle/>
          <a:p>
            <a:pPr algn="ctr"/>
            <a:r>
              <a:rPr lang="de-DE" sz="1400" err="1">
                <a:solidFill>
                  <a:schemeClr val="bg1">
                    <a:lumMod val="50000"/>
                  </a:schemeClr>
                </a:solidFill>
              </a:rPr>
              <a:t>Ongoing</a:t>
            </a:r>
            <a:endParaRPr lang="de-DE" sz="1400">
              <a:solidFill>
                <a:schemeClr val="bg1">
                  <a:lumMod val="50000"/>
                </a:schemeClr>
              </a:solidFill>
            </a:endParaRPr>
          </a:p>
        </p:txBody>
      </p:sp>
      <p:sp>
        <p:nvSpPr>
          <p:cNvPr id="4" name="Freeform 48">
            <a:extLst>
              <a:ext uri="{FF2B5EF4-FFF2-40B4-BE49-F238E27FC236}">
                <a16:creationId xmlns:a16="http://schemas.microsoft.com/office/drawing/2014/main" id="{BEAF18AE-01C8-40E2-1472-25469DD44113}"/>
              </a:ext>
            </a:extLst>
          </p:cNvPr>
          <p:cNvSpPr>
            <a:spLocks noChangeAspect="1"/>
          </p:cNvSpPr>
          <p:nvPr/>
        </p:nvSpPr>
        <p:spPr bwMode="auto">
          <a:xfrm>
            <a:off x="339051" y="1617559"/>
            <a:ext cx="2383603" cy="2382822"/>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ctr" anchorCtr="0" compatLnSpc="1">
            <a:prstTxWarp prst="textNoShape">
              <a:avLst/>
            </a:prstTxWarp>
          </a:bodyPr>
          <a:lstStyle/>
          <a:p>
            <a:pPr algn="ctr"/>
            <a:r>
              <a:rPr lang="en-US" sz="2200" b="1">
                <a:solidFill>
                  <a:schemeClr val="tx1"/>
                </a:solidFill>
              </a:rPr>
              <a:t>Validation of mobility and training programmes..</a:t>
            </a:r>
          </a:p>
        </p:txBody>
      </p:sp>
      <p:sp>
        <p:nvSpPr>
          <p:cNvPr id="10" name="Freeform 48">
            <a:extLst>
              <a:ext uri="{FF2B5EF4-FFF2-40B4-BE49-F238E27FC236}">
                <a16:creationId xmlns:a16="http://schemas.microsoft.com/office/drawing/2014/main" id="{13A7D344-588F-08DC-7E77-DFF9C8F9C662}"/>
              </a:ext>
            </a:extLst>
          </p:cNvPr>
          <p:cNvSpPr>
            <a:spLocks noChangeAspect="1"/>
          </p:cNvSpPr>
          <p:nvPr/>
        </p:nvSpPr>
        <p:spPr bwMode="auto">
          <a:xfrm>
            <a:off x="339052" y="3736995"/>
            <a:ext cx="2383603" cy="2382822"/>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ctr" anchorCtr="0" compatLnSpc="1">
            <a:prstTxWarp prst="textNoShape">
              <a:avLst/>
            </a:prstTxWarp>
          </a:bodyPr>
          <a:lstStyle/>
          <a:p>
            <a:pPr algn="ctr"/>
            <a:r>
              <a:rPr lang="en-US" sz="2200" b="1">
                <a:solidFill>
                  <a:schemeClr val="tx1"/>
                </a:solidFill>
              </a:rPr>
              <a:t>…for effectively increasing employability and career opportunities</a:t>
            </a:r>
          </a:p>
        </p:txBody>
      </p:sp>
    </p:spTree>
    <p:extLst>
      <p:ext uri="{BB962C8B-B14F-4D97-AF65-F5344CB8AC3E}">
        <p14:creationId xmlns:p14="http://schemas.microsoft.com/office/powerpoint/2010/main" val="2484833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F0A3C-6037-094C-A99C-1627A032DC8A}"/>
              </a:ext>
            </a:extLst>
          </p:cNvPr>
          <p:cNvSpPr>
            <a:spLocks noGrp="1"/>
          </p:cNvSpPr>
          <p:nvPr>
            <p:ph type="title"/>
          </p:nvPr>
        </p:nvSpPr>
        <p:spPr>
          <a:xfrm>
            <a:off x="517393" y="1219562"/>
            <a:ext cx="11157213" cy="4711484"/>
          </a:xfrm>
        </p:spPr>
        <p:txBody>
          <a:bodyPr>
            <a:normAutofit/>
          </a:bodyPr>
          <a:lstStyle/>
          <a:p>
            <a:pPr algn="ctr"/>
            <a:br>
              <a:rPr lang="en-US" sz="5400">
                <a:solidFill>
                  <a:schemeClr val="accent6">
                    <a:lumMod val="75000"/>
                  </a:schemeClr>
                </a:solidFill>
              </a:rPr>
            </a:br>
            <a:r>
              <a:rPr lang="en-US" sz="5400">
                <a:solidFill>
                  <a:schemeClr val="accent6">
                    <a:lumMod val="75000"/>
                  </a:schemeClr>
                </a:solidFill>
              </a:rPr>
              <a:t>THANK YOU!</a:t>
            </a:r>
            <a:br>
              <a:rPr lang="en-US" sz="5400">
                <a:solidFill>
                  <a:schemeClr val="accent6">
                    <a:lumMod val="75000"/>
                  </a:schemeClr>
                </a:solidFill>
              </a:rPr>
            </a:br>
            <a:br>
              <a:rPr lang="it-IT" sz="4000"/>
            </a:br>
            <a:br>
              <a:rPr lang="en-US">
                <a:solidFill>
                  <a:schemeClr val="accent6">
                    <a:lumMod val="75000"/>
                  </a:schemeClr>
                </a:solidFill>
              </a:rPr>
            </a:br>
            <a:r>
              <a:rPr lang="en-US" sz="4000">
                <a:solidFill>
                  <a:schemeClr val="accent1">
                    <a:lumMod val="75000"/>
                  </a:schemeClr>
                </a:solidFill>
              </a:rPr>
              <a:t>Visit us at: </a:t>
            </a:r>
            <a:r>
              <a:rPr lang="en-US" sz="4000" u="sng" err="1">
                <a:solidFill>
                  <a:schemeClr val="accent1">
                    <a:lumMod val="75000"/>
                  </a:schemeClr>
                </a:solidFill>
              </a:rPr>
              <a:t>www.railstaffer.eu</a:t>
            </a:r>
            <a:endParaRPr lang="en-BE" u="sng">
              <a:solidFill>
                <a:schemeClr val="accent1">
                  <a:lumMod val="75000"/>
                </a:schemeClr>
              </a:solidFill>
            </a:endParaRPr>
          </a:p>
        </p:txBody>
      </p:sp>
    </p:spTree>
    <p:extLst>
      <p:ext uri="{BB962C8B-B14F-4D97-AF65-F5344CB8AC3E}">
        <p14:creationId xmlns:p14="http://schemas.microsoft.com/office/powerpoint/2010/main" val="384181333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207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0B72F-1C9F-AC1F-3524-DC84926030C8}"/>
              </a:ext>
            </a:extLst>
          </p:cNvPr>
          <p:cNvSpPr>
            <a:spLocks noGrp="1"/>
          </p:cNvSpPr>
          <p:nvPr>
            <p:ph type="ctrTitle"/>
          </p:nvPr>
        </p:nvSpPr>
        <p:spPr>
          <a:xfrm>
            <a:off x="313539" y="1581576"/>
            <a:ext cx="8240617" cy="1351757"/>
          </a:xfrm>
        </p:spPr>
        <p:txBody>
          <a:bodyPr vert="horz" lIns="91440" tIns="45720" rIns="91440" bIns="45720" rtlCol="0" anchor="t">
            <a:normAutofit/>
          </a:bodyPr>
          <a:lstStyle/>
          <a:p>
            <a:pPr algn="l"/>
            <a:r>
              <a:rPr lang="en-US">
                <a:solidFill>
                  <a:schemeClr val="bg1"/>
                </a:solidFill>
              </a:rPr>
              <a:t>Why diversity matters?</a:t>
            </a:r>
            <a:endParaRPr lang="en-US">
              <a:solidFill>
                <a:schemeClr val="bg1"/>
              </a:solidFill>
              <a:cs typeface="Calibri Light"/>
            </a:endParaRPr>
          </a:p>
        </p:txBody>
      </p:sp>
      <p:sp>
        <p:nvSpPr>
          <p:cNvPr id="3" name="Subtitle 2">
            <a:extLst>
              <a:ext uri="{FF2B5EF4-FFF2-40B4-BE49-F238E27FC236}">
                <a16:creationId xmlns:a16="http://schemas.microsoft.com/office/drawing/2014/main" id="{15BB2FE8-9847-4BB4-7F07-A50CF75BA000}"/>
              </a:ext>
            </a:extLst>
          </p:cNvPr>
          <p:cNvSpPr>
            <a:spLocks noGrp="1"/>
          </p:cNvSpPr>
          <p:nvPr>
            <p:ph type="subTitle" idx="1"/>
          </p:nvPr>
        </p:nvSpPr>
        <p:spPr>
          <a:xfrm>
            <a:off x="367983" y="2622741"/>
            <a:ext cx="5607844" cy="619919"/>
          </a:xfrm>
        </p:spPr>
        <p:txBody>
          <a:bodyPr vert="horz" lIns="91440" tIns="45720" rIns="91440" bIns="45720" rtlCol="0" anchor="t">
            <a:normAutofit/>
          </a:bodyPr>
          <a:lstStyle/>
          <a:p>
            <a:pPr algn="l"/>
            <a:r>
              <a:rPr lang="fr-BE">
                <a:solidFill>
                  <a:schemeClr val="bg1"/>
                </a:solidFill>
              </a:rPr>
              <a:t>Nathalie </a:t>
            </a:r>
            <a:r>
              <a:rPr lang="fr-BE" err="1">
                <a:solidFill>
                  <a:schemeClr val="bg1"/>
                </a:solidFill>
              </a:rPr>
              <a:t>Namavar</a:t>
            </a:r>
            <a:endParaRPr lang="en-GB">
              <a:solidFill>
                <a:schemeClr val="bg1"/>
              </a:solidFill>
            </a:endParaRPr>
          </a:p>
        </p:txBody>
      </p:sp>
      <p:pic>
        <p:nvPicPr>
          <p:cNvPr id="8" name="Picture Placeholder 7" descr="A picture containing person, indoor, silhouette&#10;&#10;Description automatically generated">
            <a:extLst>
              <a:ext uri="{FF2B5EF4-FFF2-40B4-BE49-F238E27FC236}">
                <a16:creationId xmlns:a16="http://schemas.microsoft.com/office/drawing/2014/main" id="{C4515A18-A01A-537E-3D82-38AF1C3BAC7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8423" r="28423"/>
          <a:stretch>
            <a:fillRect/>
          </a:stretch>
        </p:blipFill>
        <p:spPr>
          <a:xfrm>
            <a:off x="7756525" y="0"/>
            <a:ext cx="4435475" cy="6858000"/>
          </a:xfrm>
        </p:spPr>
      </p:pic>
      <p:pic>
        <p:nvPicPr>
          <p:cNvPr id="5" name="Picture 5" descr="Logo&#10;&#10;Description automatically generated">
            <a:extLst>
              <a:ext uri="{FF2B5EF4-FFF2-40B4-BE49-F238E27FC236}">
                <a16:creationId xmlns:a16="http://schemas.microsoft.com/office/drawing/2014/main" id="{D49D00A0-459F-9F50-7CDB-23AE3EADA00D}"/>
              </a:ext>
            </a:extLst>
          </p:cNvPr>
          <p:cNvPicPr>
            <a:picLocks noChangeAspect="1"/>
          </p:cNvPicPr>
          <p:nvPr/>
        </p:nvPicPr>
        <p:blipFill>
          <a:blip r:embed="rId3"/>
          <a:stretch>
            <a:fillRect/>
          </a:stretch>
        </p:blipFill>
        <p:spPr>
          <a:xfrm>
            <a:off x="2156178" y="3480932"/>
            <a:ext cx="2912533" cy="2981770"/>
          </a:xfrm>
          <a:prstGeom prst="rect">
            <a:avLst/>
          </a:prstGeom>
        </p:spPr>
      </p:pic>
    </p:spTree>
    <p:extLst>
      <p:ext uri="{BB962C8B-B14F-4D97-AF65-F5344CB8AC3E}">
        <p14:creationId xmlns:p14="http://schemas.microsoft.com/office/powerpoint/2010/main" val="1170312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5">
            <a:extLst>
              <a:ext uri="{FF2B5EF4-FFF2-40B4-BE49-F238E27FC236}">
                <a16:creationId xmlns:a16="http://schemas.microsoft.com/office/drawing/2014/main" id="{9338E21E-256D-4191-ADB6-7EC474F2EA9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59201" y="1380937"/>
            <a:ext cx="5024438" cy="5024438"/>
          </a:xfrm>
          <a:prstGeom prst="rect">
            <a:avLst/>
          </a:prstGeom>
        </p:spPr>
      </p:pic>
      <p:sp>
        <p:nvSpPr>
          <p:cNvPr id="4" name="TextBox 3">
            <a:extLst>
              <a:ext uri="{FF2B5EF4-FFF2-40B4-BE49-F238E27FC236}">
                <a16:creationId xmlns:a16="http://schemas.microsoft.com/office/drawing/2014/main" id="{1CC0B138-8A0E-4507-9D5E-068F51C7760D}"/>
              </a:ext>
            </a:extLst>
          </p:cNvPr>
          <p:cNvSpPr txBox="1"/>
          <p:nvPr/>
        </p:nvSpPr>
        <p:spPr>
          <a:xfrm>
            <a:off x="6371420" y="-7501"/>
            <a:ext cx="5659281" cy="920252"/>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4000" b="0" i="0" u="none" strike="noStrike" kern="1200" cap="none" spc="0" normalizeH="0" baseline="0" noProof="0">
                <a:ln>
                  <a:noFill/>
                </a:ln>
                <a:solidFill>
                  <a:schemeClr val="bg1"/>
                </a:solidFill>
                <a:effectLst/>
                <a:uLnTx/>
                <a:uFillTx/>
                <a:latin typeface="Calibri Body"/>
              </a:rPr>
              <a:t>Give us your feedback</a:t>
            </a:r>
          </a:p>
        </p:txBody>
      </p:sp>
    </p:spTree>
    <p:extLst>
      <p:ext uri="{BB962C8B-B14F-4D97-AF65-F5344CB8AC3E}">
        <p14:creationId xmlns:p14="http://schemas.microsoft.com/office/powerpoint/2010/main" val="2416330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E6E8C-7D3B-496C-B52D-67E89E6AA144}"/>
              </a:ext>
            </a:extLst>
          </p:cNvPr>
          <p:cNvSpPr>
            <a:spLocks noGrp="1"/>
          </p:cNvSpPr>
          <p:nvPr>
            <p:ph type="title"/>
          </p:nvPr>
        </p:nvSpPr>
        <p:spPr>
          <a:xfrm>
            <a:off x="6610119" y="-187289"/>
            <a:ext cx="5526795" cy="1273215"/>
          </a:xfrm>
        </p:spPr>
        <p:txBody>
          <a:bodyPr>
            <a:normAutofit/>
          </a:bodyPr>
          <a:lstStyle/>
          <a:p>
            <a:pPr marL="0" marR="0" lvl="0" indent="0" algn="r" defTabSz="914400" rtl="0" eaLnBrk="1" fontAlgn="auto" latinLnBrk="0" hangingPunct="1">
              <a:lnSpc>
                <a:spcPct val="150000"/>
              </a:lnSpc>
              <a:spcBef>
                <a:spcPts val="0"/>
              </a:spcBef>
              <a:spcAft>
                <a:spcPts val="0"/>
              </a:spcAft>
              <a:tabLst/>
              <a:defRPr/>
            </a:pPr>
            <a:r>
              <a:rPr kumimoji="0" lang="en-US" sz="4000" b="0" i="0" u="none" strike="noStrike" kern="1200" cap="none" spc="0" normalizeH="0" baseline="0" noProof="0">
                <a:ln>
                  <a:noFill/>
                </a:ln>
                <a:solidFill>
                  <a:schemeClr val="bg1"/>
                </a:solidFill>
                <a:effectLst/>
                <a:uLnTx/>
                <a:uFillTx/>
                <a:latin typeface="Calibri Body"/>
                <a:ea typeface="+mn-ea"/>
                <a:cs typeface="+mn-cs"/>
              </a:rPr>
              <a:t>Upcoming ERA events</a:t>
            </a:r>
          </a:p>
        </p:txBody>
      </p:sp>
      <p:sp>
        <p:nvSpPr>
          <p:cNvPr id="5" name="TextBox 4">
            <a:extLst>
              <a:ext uri="{FF2B5EF4-FFF2-40B4-BE49-F238E27FC236}">
                <a16:creationId xmlns:a16="http://schemas.microsoft.com/office/drawing/2014/main" id="{C69B5737-2498-42BC-8E24-AA9B47DF315B}"/>
              </a:ext>
            </a:extLst>
          </p:cNvPr>
          <p:cNvSpPr txBox="1"/>
          <p:nvPr/>
        </p:nvSpPr>
        <p:spPr>
          <a:xfrm>
            <a:off x="9991234" y="4801793"/>
            <a:ext cx="2506894" cy="369332"/>
          </a:xfrm>
          <a:prstGeom prst="rect">
            <a:avLst/>
          </a:prstGeom>
          <a:noFill/>
        </p:spPr>
        <p:txBody>
          <a:bodyPr wrap="square">
            <a:spAutoFit/>
          </a:bodyPr>
          <a:lstStyle/>
          <a:p>
            <a:r>
              <a:rPr lang="fr-BE" err="1">
                <a:solidFill>
                  <a:schemeClr val="bg1"/>
                </a:solidFill>
                <a:latin typeface="Calibri"/>
                <a:ea typeface="+mj-ea"/>
                <a:cs typeface="+mj-cs"/>
              </a:rPr>
              <a:t>Give</a:t>
            </a:r>
            <a:r>
              <a:rPr lang="fr-BE">
                <a:solidFill>
                  <a:schemeClr val="bg1"/>
                </a:solidFill>
                <a:latin typeface="Calibri"/>
                <a:ea typeface="+mj-ea"/>
                <a:cs typeface="+mj-cs"/>
              </a:rPr>
              <a:t> us </a:t>
            </a:r>
            <a:r>
              <a:rPr lang="fr-BE" err="1">
                <a:solidFill>
                  <a:schemeClr val="bg1"/>
                </a:solidFill>
                <a:latin typeface="Calibri"/>
                <a:ea typeface="+mj-ea"/>
                <a:cs typeface="+mj-cs"/>
              </a:rPr>
              <a:t>your</a:t>
            </a:r>
            <a:r>
              <a:rPr lang="fr-BE">
                <a:solidFill>
                  <a:schemeClr val="bg1"/>
                </a:solidFill>
                <a:latin typeface="Calibri"/>
                <a:ea typeface="+mj-ea"/>
                <a:cs typeface="+mj-cs"/>
              </a:rPr>
              <a:t> feedback</a:t>
            </a:r>
            <a:endParaRPr lang="en-GB">
              <a:solidFill>
                <a:schemeClr val="bg1"/>
              </a:solidFill>
              <a:latin typeface="Calibri"/>
              <a:ea typeface="+mj-ea"/>
              <a:cs typeface="+mj-cs"/>
            </a:endParaRPr>
          </a:p>
        </p:txBody>
      </p:sp>
      <p:pic>
        <p:nvPicPr>
          <p:cNvPr id="6" name="Content Placeholder 13">
            <a:extLst>
              <a:ext uri="{FF2B5EF4-FFF2-40B4-BE49-F238E27FC236}">
                <a16:creationId xmlns:a16="http://schemas.microsoft.com/office/drawing/2014/main" id="{07AD4809-EFE6-4135-9028-74C3FDEA681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42766" y="5171125"/>
            <a:ext cx="1598344" cy="1598344"/>
          </a:xfrm>
          <a:prstGeom prst="rect">
            <a:avLst/>
          </a:prstGeom>
        </p:spPr>
      </p:pic>
      <p:graphicFrame>
        <p:nvGraphicFramePr>
          <p:cNvPr id="25" name="Diagram 25">
            <a:extLst>
              <a:ext uri="{FF2B5EF4-FFF2-40B4-BE49-F238E27FC236}">
                <a16:creationId xmlns:a16="http://schemas.microsoft.com/office/drawing/2014/main" id="{0FC26B37-6BCC-DDE2-9522-129253F62FAD}"/>
              </a:ext>
            </a:extLst>
          </p:cNvPr>
          <p:cNvGraphicFramePr/>
          <p:nvPr>
            <p:extLst>
              <p:ext uri="{D42A27DB-BD31-4B8C-83A1-F6EECF244321}">
                <p14:modId xmlns:p14="http://schemas.microsoft.com/office/powerpoint/2010/main" val="1470985926"/>
              </p:ext>
            </p:extLst>
          </p:nvPr>
        </p:nvGraphicFramePr>
        <p:xfrm>
          <a:off x="250032" y="957263"/>
          <a:ext cx="11799092" cy="55506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538" name="Picture 509" descr="A picture containing text&#10;&#10;Description automatically generated">
            <a:extLst>
              <a:ext uri="{FF2B5EF4-FFF2-40B4-BE49-F238E27FC236}">
                <a16:creationId xmlns:a16="http://schemas.microsoft.com/office/drawing/2014/main" id="{42EAECA2-F91F-7ABA-5FB7-CBAFB43A7F0B}"/>
              </a:ext>
            </a:extLst>
          </p:cNvPr>
          <p:cNvPicPr>
            <a:picLocks noChangeAspect="1"/>
          </p:cNvPicPr>
          <p:nvPr/>
        </p:nvPicPr>
        <p:blipFill>
          <a:blip r:embed="rId8"/>
          <a:stretch>
            <a:fillRect/>
          </a:stretch>
        </p:blipFill>
        <p:spPr>
          <a:xfrm>
            <a:off x="3831431" y="5831441"/>
            <a:ext cx="1754982" cy="755337"/>
          </a:xfrm>
          <a:prstGeom prst="rect">
            <a:avLst/>
          </a:prstGeom>
        </p:spPr>
      </p:pic>
    </p:spTree>
    <p:extLst>
      <p:ext uri="{BB962C8B-B14F-4D97-AF65-F5344CB8AC3E}">
        <p14:creationId xmlns:p14="http://schemas.microsoft.com/office/powerpoint/2010/main" val="39880312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A picture containing track, train, grass, outdoor&#10;&#10;Description automatically generated">
            <a:extLst>
              <a:ext uri="{FF2B5EF4-FFF2-40B4-BE49-F238E27FC236}">
                <a16:creationId xmlns:a16="http://schemas.microsoft.com/office/drawing/2014/main" id="{BAB21F28-5B15-46B6-9148-E61CEFF92B86}"/>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
        <p:nvSpPr>
          <p:cNvPr id="12" name="Rettangolo 11">
            <a:extLst>
              <a:ext uri="{FF2B5EF4-FFF2-40B4-BE49-F238E27FC236}">
                <a16:creationId xmlns:a16="http://schemas.microsoft.com/office/drawing/2014/main" id="{A6B2F688-CA06-E64C-9CB5-AAC1CB5F9EFB}"/>
              </a:ext>
            </a:extLst>
          </p:cNvPr>
          <p:cNvSpPr/>
          <p:nvPr/>
        </p:nvSpPr>
        <p:spPr>
          <a:xfrm>
            <a:off x="12471" y="5858192"/>
            <a:ext cx="6126480" cy="991815"/>
          </a:xfrm>
          <a:prstGeom prst="rect">
            <a:avLst/>
          </a:prstGeom>
          <a:solidFill>
            <a:srgbClr val="364B7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10885" y="1338470"/>
            <a:ext cx="6126480" cy="4737436"/>
          </a:xfrm>
          <a:prstGeom prst="rect">
            <a:avLst/>
          </a:prstGeom>
          <a:solidFill>
            <a:srgbClr val="364B7D">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4"/>
          <p:cNvSpPr>
            <a:spLocks noGrp="1"/>
          </p:cNvSpPr>
          <p:nvPr>
            <p:ph type="ctrTitle"/>
          </p:nvPr>
        </p:nvSpPr>
        <p:spPr>
          <a:xfrm>
            <a:off x="213360" y="1197928"/>
            <a:ext cx="9144000" cy="2387600"/>
          </a:xfrm>
        </p:spPr>
        <p:txBody>
          <a:bodyPr anchor="ctr">
            <a:noAutofit/>
          </a:bodyPr>
          <a:lstStyle/>
          <a:p>
            <a:pPr algn="l"/>
            <a:r>
              <a:rPr lang="id-ID" sz="8800">
                <a:solidFill>
                  <a:schemeClr val="bg1"/>
                </a:solidFill>
              </a:rPr>
              <a:t>THANK YOU</a:t>
            </a:r>
          </a:p>
        </p:txBody>
      </p:sp>
      <p:sp>
        <p:nvSpPr>
          <p:cNvPr id="2" name="Subtitle 1"/>
          <p:cNvSpPr>
            <a:spLocks noGrp="1"/>
          </p:cNvSpPr>
          <p:nvPr>
            <p:ph type="subTitle" idx="1"/>
          </p:nvPr>
        </p:nvSpPr>
        <p:spPr>
          <a:xfrm>
            <a:off x="385374" y="3878728"/>
            <a:ext cx="5321462" cy="1880528"/>
          </a:xfrm>
        </p:spPr>
        <p:txBody>
          <a:bodyPr>
            <a:noAutofit/>
          </a:bodyPr>
          <a:lstStyle/>
          <a:p>
            <a:pPr algn="l"/>
            <a:r>
              <a:rPr lang="en-US" sz="2800">
                <a:solidFill>
                  <a:schemeClr val="bg1"/>
                </a:solidFill>
              </a:rPr>
              <a:t>Moving Europe towards a sustainable and safe railway system without frontiers.</a:t>
            </a:r>
          </a:p>
          <a:p>
            <a:pPr algn="l">
              <a:lnSpc>
                <a:spcPct val="120000"/>
              </a:lnSpc>
            </a:pPr>
            <a:endParaRPr lang="id-ID" sz="1400">
              <a:solidFill>
                <a:schemeClr val="bg1"/>
              </a:solidFill>
            </a:endParaRPr>
          </a:p>
        </p:txBody>
      </p:sp>
      <p:sp>
        <p:nvSpPr>
          <p:cNvPr id="3" name="Slide Number Placeholder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469DCAB-2F4C-4855-A2DD-8F41E74CAF44}" type="slidenum">
              <a:rPr kumimoji="0" lang="id-ID"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 name="Straight Connector 6"/>
          <p:cNvCxnSpPr/>
          <p:nvPr/>
        </p:nvCxnSpPr>
        <p:spPr>
          <a:xfrm>
            <a:off x="402509" y="3429000"/>
            <a:ext cx="507054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Immagine 7">
            <a:hlinkClick r:id="rId4"/>
            <a:extLst>
              <a:ext uri="{FF2B5EF4-FFF2-40B4-BE49-F238E27FC236}">
                <a16:creationId xmlns:a16="http://schemas.microsoft.com/office/drawing/2014/main" id="{CBA59573-2D0E-8A47-BC3D-195F43AF6E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86959" y="6191024"/>
            <a:ext cx="301457" cy="247096"/>
          </a:xfrm>
          <a:prstGeom prst="rect">
            <a:avLst/>
          </a:prstGeom>
        </p:spPr>
      </p:pic>
      <p:pic>
        <p:nvPicPr>
          <p:cNvPr id="10" name="Immagine 9">
            <a:hlinkClick r:id="rId6"/>
            <a:extLst>
              <a:ext uri="{FF2B5EF4-FFF2-40B4-BE49-F238E27FC236}">
                <a16:creationId xmlns:a16="http://schemas.microsoft.com/office/drawing/2014/main" id="{01788A02-A2F3-6D49-8C17-D7C928B38EC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75711" y="6151391"/>
            <a:ext cx="281689" cy="281689"/>
          </a:xfrm>
          <a:prstGeom prst="rect">
            <a:avLst/>
          </a:prstGeom>
        </p:spPr>
      </p:pic>
      <p:pic>
        <p:nvPicPr>
          <p:cNvPr id="11" name="Immagine 10">
            <a:hlinkClick r:id="rId8"/>
            <a:extLst>
              <a:ext uri="{FF2B5EF4-FFF2-40B4-BE49-F238E27FC236}">
                <a16:creationId xmlns:a16="http://schemas.microsoft.com/office/drawing/2014/main" id="{CAF26962-E59B-DE48-97D6-340D8FDC7BF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52127" y="6191835"/>
            <a:ext cx="355818" cy="247096"/>
          </a:xfrm>
          <a:prstGeom prst="rect">
            <a:avLst/>
          </a:prstGeom>
        </p:spPr>
      </p:pic>
      <p:sp>
        <p:nvSpPr>
          <p:cNvPr id="13" name="Subtitle 1">
            <a:extLst>
              <a:ext uri="{FF2B5EF4-FFF2-40B4-BE49-F238E27FC236}">
                <a16:creationId xmlns:a16="http://schemas.microsoft.com/office/drawing/2014/main" id="{7BEA18BC-A7DE-4B31-9CD9-DAE150E3D988}"/>
              </a:ext>
            </a:extLst>
          </p:cNvPr>
          <p:cNvSpPr txBox="1">
            <a:spLocks/>
          </p:cNvSpPr>
          <p:nvPr/>
        </p:nvSpPr>
        <p:spPr>
          <a:xfrm>
            <a:off x="402509" y="6086389"/>
            <a:ext cx="5321462" cy="188052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50000"/>
                    <a:lumOff val="50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lumMod val="50000"/>
                    <a:lumOff val="50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lumMod val="50000"/>
                    <a:lumOff val="50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lumMod val="50000"/>
                    <a:lumOff val="50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lumMod val="50000"/>
                    <a:lumOff val="50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llow us:</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id-ID"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298201"/>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2FF05-91CA-9C63-985E-CB7187BCFD48}"/>
              </a:ext>
            </a:extLst>
          </p:cNvPr>
          <p:cNvSpPr>
            <a:spLocks noGrp="1"/>
          </p:cNvSpPr>
          <p:nvPr>
            <p:ph type="title"/>
          </p:nvPr>
        </p:nvSpPr>
        <p:spPr>
          <a:xfrm>
            <a:off x="6777542" y="104474"/>
            <a:ext cx="5264944" cy="1273215"/>
          </a:xfrm>
        </p:spPr>
        <p:txBody>
          <a:bodyPr>
            <a:normAutofit/>
          </a:bodyPr>
          <a:lstStyle/>
          <a:p>
            <a:pPr algn="r"/>
            <a:r>
              <a:rPr lang="en-US" sz="4000">
                <a:solidFill>
                  <a:schemeClr val="bg1"/>
                </a:solidFill>
                <a:latin typeface="Calibri"/>
                <a:cs typeface="Calibri"/>
              </a:rPr>
              <a:t>Gender balance – Status</a:t>
            </a:r>
            <a:endParaRPr lang="en-US" sz="4000">
              <a:solidFill>
                <a:schemeClr val="bg1"/>
              </a:solidFill>
              <a:cs typeface="Calibri Light"/>
            </a:endParaRPr>
          </a:p>
        </p:txBody>
      </p:sp>
      <p:graphicFrame>
        <p:nvGraphicFramePr>
          <p:cNvPr id="3" name="Diagram 3">
            <a:extLst>
              <a:ext uri="{FF2B5EF4-FFF2-40B4-BE49-F238E27FC236}">
                <a16:creationId xmlns:a16="http://schemas.microsoft.com/office/drawing/2014/main" id="{8A7FB9C4-96FD-CFA7-D51C-3D4375FE7CD4}"/>
              </a:ext>
            </a:extLst>
          </p:cNvPr>
          <p:cNvGraphicFramePr/>
          <p:nvPr>
            <p:extLst>
              <p:ext uri="{D42A27DB-BD31-4B8C-83A1-F6EECF244321}">
                <p14:modId xmlns:p14="http://schemas.microsoft.com/office/powerpoint/2010/main" val="2047597950"/>
              </p:ext>
            </p:extLst>
          </p:nvPr>
        </p:nvGraphicFramePr>
        <p:xfrm>
          <a:off x="166689" y="1409699"/>
          <a:ext cx="11890374" cy="52966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1">
            <a:extLst>
              <a:ext uri="{FF2B5EF4-FFF2-40B4-BE49-F238E27FC236}">
                <a16:creationId xmlns:a16="http://schemas.microsoft.com/office/drawing/2014/main" id="{7C98018E-C7A9-F946-6C0C-C2B19F0430E7}"/>
              </a:ext>
            </a:extLst>
          </p:cNvPr>
          <p:cNvPicPr>
            <a:picLocks noChangeAspect="1"/>
          </p:cNvPicPr>
          <p:nvPr/>
        </p:nvPicPr>
        <p:blipFill>
          <a:blip r:embed="rId8"/>
          <a:stretch>
            <a:fillRect/>
          </a:stretch>
        </p:blipFill>
        <p:spPr>
          <a:xfrm>
            <a:off x="1281288" y="4636911"/>
            <a:ext cx="5593644" cy="1864547"/>
          </a:xfrm>
          <a:prstGeom prst="rect">
            <a:avLst/>
          </a:prstGeom>
        </p:spPr>
      </p:pic>
    </p:spTree>
    <p:extLst>
      <p:ext uri="{BB962C8B-B14F-4D97-AF65-F5344CB8AC3E}">
        <p14:creationId xmlns:p14="http://schemas.microsoft.com/office/powerpoint/2010/main" val="1928388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2FF05-91CA-9C63-985E-CB7187BCFD48}"/>
              </a:ext>
            </a:extLst>
          </p:cNvPr>
          <p:cNvSpPr>
            <a:spLocks noGrp="1"/>
          </p:cNvSpPr>
          <p:nvPr>
            <p:ph type="title"/>
          </p:nvPr>
        </p:nvSpPr>
        <p:spPr>
          <a:xfrm>
            <a:off x="6777542" y="104474"/>
            <a:ext cx="5264944" cy="1273215"/>
          </a:xfrm>
        </p:spPr>
        <p:txBody>
          <a:bodyPr>
            <a:normAutofit/>
          </a:bodyPr>
          <a:lstStyle/>
          <a:p>
            <a:pPr algn="r"/>
            <a:r>
              <a:rPr lang="en-US" sz="4000">
                <a:solidFill>
                  <a:schemeClr val="bg1"/>
                </a:solidFill>
                <a:latin typeface="Calibri"/>
                <a:cs typeface="Calibri"/>
              </a:rPr>
              <a:t>Gender balance – Status</a:t>
            </a:r>
            <a:endParaRPr lang="en-US" sz="4000">
              <a:solidFill>
                <a:schemeClr val="bg1"/>
              </a:solidFill>
              <a:cs typeface="Calibri Light"/>
            </a:endParaRPr>
          </a:p>
        </p:txBody>
      </p:sp>
      <p:pic>
        <p:nvPicPr>
          <p:cNvPr id="18" name="Picture 18" descr="Chart, pie chart, bubble chart&#10;&#10;Description automatically generated">
            <a:extLst>
              <a:ext uri="{FF2B5EF4-FFF2-40B4-BE49-F238E27FC236}">
                <a16:creationId xmlns:a16="http://schemas.microsoft.com/office/drawing/2014/main" id="{D4FBD1BB-0A2B-CB53-7B8D-30EB8DA2FA71}"/>
              </a:ext>
            </a:extLst>
          </p:cNvPr>
          <p:cNvPicPr>
            <a:picLocks noChangeAspect="1"/>
          </p:cNvPicPr>
          <p:nvPr/>
        </p:nvPicPr>
        <p:blipFill>
          <a:blip r:embed="rId2"/>
          <a:stretch>
            <a:fillRect/>
          </a:stretch>
        </p:blipFill>
        <p:spPr>
          <a:xfrm>
            <a:off x="1140618" y="1960165"/>
            <a:ext cx="9906152" cy="4664075"/>
          </a:xfrm>
          <a:prstGeom prst="rect">
            <a:avLst/>
          </a:prstGeom>
        </p:spPr>
      </p:pic>
      <p:sp>
        <p:nvSpPr>
          <p:cNvPr id="20" name="TextBox 19">
            <a:extLst>
              <a:ext uri="{FF2B5EF4-FFF2-40B4-BE49-F238E27FC236}">
                <a16:creationId xmlns:a16="http://schemas.microsoft.com/office/drawing/2014/main" id="{2DA9961B-5CCF-9C82-B773-A5ADCAD27585}"/>
              </a:ext>
            </a:extLst>
          </p:cNvPr>
          <p:cNvSpPr txBox="1"/>
          <p:nvPr/>
        </p:nvSpPr>
        <p:spPr>
          <a:xfrm>
            <a:off x="2557462" y="1331118"/>
            <a:ext cx="7077073" cy="63094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500" b="1">
                <a:solidFill>
                  <a:srgbClr val="FFFF00"/>
                </a:solidFill>
              </a:rPr>
              <a:t>At ERA</a:t>
            </a:r>
            <a:endParaRPr lang="en-US" sz="3500" b="1">
              <a:solidFill>
                <a:srgbClr val="FFFF00"/>
              </a:solidFill>
              <a:cs typeface="Calibri" panose="020F0502020204030204"/>
            </a:endParaRPr>
          </a:p>
        </p:txBody>
      </p:sp>
    </p:spTree>
    <p:extLst>
      <p:ext uri="{BB962C8B-B14F-4D97-AF65-F5344CB8AC3E}">
        <p14:creationId xmlns:p14="http://schemas.microsoft.com/office/powerpoint/2010/main" val="2401145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1DA11-2414-D9FF-C286-277B0231384F}"/>
              </a:ext>
            </a:extLst>
          </p:cNvPr>
          <p:cNvSpPr>
            <a:spLocks noGrp="1"/>
          </p:cNvSpPr>
          <p:nvPr>
            <p:ph type="title"/>
          </p:nvPr>
        </p:nvSpPr>
        <p:spPr>
          <a:xfrm>
            <a:off x="7206167" y="187818"/>
            <a:ext cx="4860133" cy="1273215"/>
          </a:xfrm>
        </p:spPr>
        <p:txBody>
          <a:bodyPr vert="horz" lIns="91440" tIns="45720" rIns="91440" bIns="45720" rtlCol="0" anchor="ctr">
            <a:noAutofit/>
          </a:bodyPr>
          <a:lstStyle/>
          <a:p>
            <a:pPr algn="r"/>
            <a:r>
              <a:rPr lang="en-US" sz="4000">
                <a:solidFill>
                  <a:schemeClr val="bg1"/>
                </a:solidFill>
                <a:latin typeface="Calibri Body"/>
                <a:cs typeface="Calibri"/>
              </a:rPr>
              <a:t>Gender equality in the EU is an EU Value</a:t>
            </a:r>
            <a:endParaRPr lang="en-US" sz="4000">
              <a:solidFill>
                <a:schemeClr val="bg1"/>
              </a:solidFill>
              <a:latin typeface="Calibri Body"/>
              <a:cs typeface="Calibri Light"/>
            </a:endParaRPr>
          </a:p>
        </p:txBody>
      </p:sp>
      <p:graphicFrame>
        <p:nvGraphicFramePr>
          <p:cNvPr id="3" name="Diagram 3">
            <a:extLst>
              <a:ext uri="{FF2B5EF4-FFF2-40B4-BE49-F238E27FC236}">
                <a16:creationId xmlns:a16="http://schemas.microsoft.com/office/drawing/2014/main" id="{686C21C0-1C83-37AE-81AD-04A6E38029A5}"/>
              </a:ext>
            </a:extLst>
          </p:cNvPr>
          <p:cNvGraphicFramePr/>
          <p:nvPr>
            <p:extLst>
              <p:ext uri="{D42A27DB-BD31-4B8C-83A1-F6EECF244321}">
                <p14:modId xmlns:p14="http://schemas.microsoft.com/office/powerpoint/2010/main" val="1327761786"/>
              </p:ext>
            </p:extLst>
          </p:nvPr>
        </p:nvGraphicFramePr>
        <p:xfrm>
          <a:off x="416719" y="1469231"/>
          <a:ext cx="11363853" cy="5394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55254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1DA11-2414-D9FF-C286-277B0231384F}"/>
              </a:ext>
            </a:extLst>
          </p:cNvPr>
          <p:cNvSpPr>
            <a:spLocks noGrp="1"/>
          </p:cNvSpPr>
          <p:nvPr>
            <p:ph type="title"/>
          </p:nvPr>
        </p:nvSpPr>
        <p:spPr>
          <a:xfrm>
            <a:off x="7206167" y="187818"/>
            <a:ext cx="4860133" cy="1273215"/>
          </a:xfrm>
        </p:spPr>
        <p:txBody>
          <a:bodyPr vert="horz" lIns="91440" tIns="45720" rIns="91440" bIns="45720" rtlCol="0" anchor="ctr">
            <a:noAutofit/>
          </a:bodyPr>
          <a:lstStyle/>
          <a:p>
            <a:pPr algn="r"/>
            <a:r>
              <a:rPr lang="en-US" sz="4000">
                <a:solidFill>
                  <a:schemeClr val="bg1"/>
                </a:solidFill>
                <a:latin typeface="Calibri"/>
                <a:cs typeface="Calibri"/>
              </a:rPr>
              <a:t>Benefits of diversity - </a:t>
            </a:r>
            <a:br>
              <a:rPr lang="en-US" sz="4000">
                <a:solidFill>
                  <a:schemeClr val="bg1"/>
                </a:solidFill>
                <a:latin typeface="Calibri"/>
                <a:cs typeface="Calibri"/>
              </a:rPr>
            </a:br>
            <a:r>
              <a:rPr lang="en-US" sz="4000">
                <a:solidFill>
                  <a:schemeClr val="bg1"/>
                </a:solidFill>
                <a:latin typeface="Calibri"/>
                <a:cs typeface="Calibri"/>
              </a:rPr>
              <a:t>Why diversity matters</a:t>
            </a:r>
          </a:p>
        </p:txBody>
      </p:sp>
      <p:graphicFrame>
        <p:nvGraphicFramePr>
          <p:cNvPr id="20" name="Diagram 20">
            <a:extLst>
              <a:ext uri="{FF2B5EF4-FFF2-40B4-BE49-F238E27FC236}">
                <a16:creationId xmlns:a16="http://schemas.microsoft.com/office/drawing/2014/main" id="{7C9B6BC6-09A2-2D5B-7EB4-E9FD86EC7C5D}"/>
              </a:ext>
            </a:extLst>
          </p:cNvPr>
          <p:cNvGraphicFramePr/>
          <p:nvPr>
            <p:extLst>
              <p:ext uri="{D42A27DB-BD31-4B8C-83A1-F6EECF244321}">
                <p14:modId xmlns:p14="http://schemas.microsoft.com/office/powerpoint/2010/main" val="3921272237"/>
              </p:ext>
            </p:extLst>
          </p:nvPr>
        </p:nvGraphicFramePr>
        <p:xfrm>
          <a:off x="464344" y="1659731"/>
          <a:ext cx="11263311" cy="48958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51" name="Picture 251">
            <a:extLst>
              <a:ext uri="{FF2B5EF4-FFF2-40B4-BE49-F238E27FC236}">
                <a16:creationId xmlns:a16="http://schemas.microsoft.com/office/drawing/2014/main" id="{6FFC94EA-F440-7DE9-264A-056C37505CD0}"/>
              </a:ext>
            </a:extLst>
          </p:cNvPr>
          <p:cNvPicPr>
            <a:picLocks noChangeAspect="1"/>
          </p:cNvPicPr>
          <p:nvPr/>
        </p:nvPicPr>
        <p:blipFill>
          <a:blip r:embed="rId7"/>
          <a:stretch>
            <a:fillRect/>
          </a:stretch>
        </p:blipFill>
        <p:spPr>
          <a:xfrm>
            <a:off x="381000" y="1774031"/>
            <a:ext cx="1428750" cy="1428750"/>
          </a:xfrm>
          <a:prstGeom prst="rect">
            <a:avLst/>
          </a:prstGeom>
        </p:spPr>
      </p:pic>
      <p:pic>
        <p:nvPicPr>
          <p:cNvPr id="280" name="Picture 280" descr="Icon&#10;&#10;Description automatically generated">
            <a:extLst>
              <a:ext uri="{FF2B5EF4-FFF2-40B4-BE49-F238E27FC236}">
                <a16:creationId xmlns:a16="http://schemas.microsoft.com/office/drawing/2014/main" id="{10F53154-ED5D-7405-71BB-696CDEE680C3}"/>
              </a:ext>
            </a:extLst>
          </p:cNvPr>
          <p:cNvPicPr>
            <a:picLocks noChangeAspect="1"/>
          </p:cNvPicPr>
          <p:nvPr/>
        </p:nvPicPr>
        <p:blipFill>
          <a:blip r:embed="rId8"/>
          <a:stretch>
            <a:fillRect/>
          </a:stretch>
        </p:blipFill>
        <p:spPr>
          <a:xfrm>
            <a:off x="381000" y="3393281"/>
            <a:ext cx="1428750" cy="1428750"/>
          </a:xfrm>
          <a:prstGeom prst="rect">
            <a:avLst/>
          </a:prstGeom>
        </p:spPr>
      </p:pic>
      <p:pic>
        <p:nvPicPr>
          <p:cNvPr id="281" name="Picture 281" descr="Icon&#10;&#10;Description automatically generated">
            <a:extLst>
              <a:ext uri="{FF2B5EF4-FFF2-40B4-BE49-F238E27FC236}">
                <a16:creationId xmlns:a16="http://schemas.microsoft.com/office/drawing/2014/main" id="{53CB0EBC-13DA-EB34-1297-FA8230959B91}"/>
              </a:ext>
            </a:extLst>
          </p:cNvPr>
          <p:cNvPicPr>
            <a:picLocks noChangeAspect="1"/>
          </p:cNvPicPr>
          <p:nvPr/>
        </p:nvPicPr>
        <p:blipFill>
          <a:blip r:embed="rId9"/>
          <a:stretch>
            <a:fillRect/>
          </a:stretch>
        </p:blipFill>
        <p:spPr>
          <a:xfrm>
            <a:off x="309562" y="4941094"/>
            <a:ext cx="1428750" cy="1428750"/>
          </a:xfrm>
          <a:prstGeom prst="rect">
            <a:avLst/>
          </a:prstGeom>
        </p:spPr>
      </p:pic>
    </p:spTree>
    <p:extLst>
      <p:ext uri="{BB962C8B-B14F-4D97-AF65-F5344CB8AC3E}">
        <p14:creationId xmlns:p14="http://schemas.microsoft.com/office/powerpoint/2010/main" val="756892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1DA11-2414-D9FF-C286-277B0231384F}"/>
              </a:ext>
            </a:extLst>
          </p:cNvPr>
          <p:cNvSpPr>
            <a:spLocks noGrp="1"/>
          </p:cNvSpPr>
          <p:nvPr>
            <p:ph type="title"/>
          </p:nvPr>
        </p:nvSpPr>
        <p:spPr>
          <a:xfrm>
            <a:off x="7206167" y="187818"/>
            <a:ext cx="4860133" cy="1273215"/>
          </a:xfrm>
        </p:spPr>
        <p:txBody>
          <a:bodyPr vert="horz" lIns="91440" tIns="45720" rIns="91440" bIns="45720" rtlCol="0" anchor="ctr">
            <a:noAutofit/>
          </a:bodyPr>
          <a:lstStyle/>
          <a:p>
            <a:pPr algn="r"/>
            <a:r>
              <a:rPr lang="en-US" sz="4000">
                <a:solidFill>
                  <a:schemeClr val="bg1"/>
                </a:solidFill>
                <a:latin typeface="Calibri"/>
                <a:cs typeface="Calibri"/>
              </a:rPr>
              <a:t>On track towards more diversity</a:t>
            </a:r>
            <a:endParaRPr lang="en-US" sz="4000">
              <a:solidFill>
                <a:schemeClr val="bg1"/>
              </a:solidFill>
              <a:cs typeface="Calibri Light"/>
            </a:endParaRPr>
          </a:p>
        </p:txBody>
      </p:sp>
      <p:graphicFrame>
        <p:nvGraphicFramePr>
          <p:cNvPr id="18" name="Diagram 18">
            <a:extLst>
              <a:ext uri="{FF2B5EF4-FFF2-40B4-BE49-F238E27FC236}">
                <a16:creationId xmlns:a16="http://schemas.microsoft.com/office/drawing/2014/main" id="{96D27582-DEA3-8BAF-0262-045C27322EF1}"/>
              </a:ext>
            </a:extLst>
          </p:cNvPr>
          <p:cNvGraphicFramePr/>
          <p:nvPr>
            <p:extLst>
              <p:ext uri="{D42A27DB-BD31-4B8C-83A1-F6EECF244321}">
                <p14:modId xmlns:p14="http://schemas.microsoft.com/office/powerpoint/2010/main" val="3515604849"/>
              </p:ext>
            </p:extLst>
          </p:nvPr>
        </p:nvGraphicFramePr>
        <p:xfrm>
          <a:off x="202408" y="1409700"/>
          <a:ext cx="11727655" cy="51935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6" name="Picture 26" descr="Logo&#10;&#10;Description automatically generated">
            <a:extLst>
              <a:ext uri="{FF2B5EF4-FFF2-40B4-BE49-F238E27FC236}">
                <a16:creationId xmlns:a16="http://schemas.microsoft.com/office/drawing/2014/main" id="{9BFBB67C-3CAC-6603-CFB0-2F0DC70E7463}"/>
              </a:ext>
            </a:extLst>
          </p:cNvPr>
          <p:cNvPicPr>
            <a:picLocks noChangeAspect="1"/>
          </p:cNvPicPr>
          <p:nvPr/>
        </p:nvPicPr>
        <p:blipFill>
          <a:blip r:embed="rId8"/>
          <a:stretch>
            <a:fillRect/>
          </a:stretch>
        </p:blipFill>
        <p:spPr>
          <a:xfrm>
            <a:off x="1055511" y="3700702"/>
            <a:ext cx="5932311" cy="2702152"/>
          </a:xfrm>
          <a:prstGeom prst="rect">
            <a:avLst/>
          </a:prstGeom>
        </p:spPr>
      </p:pic>
    </p:spTree>
    <p:extLst>
      <p:ext uri="{BB962C8B-B14F-4D97-AF65-F5344CB8AC3E}">
        <p14:creationId xmlns:p14="http://schemas.microsoft.com/office/powerpoint/2010/main" val="3417549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1DA11-2414-D9FF-C286-277B0231384F}"/>
              </a:ext>
            </a:extLst>
          </p:cNvPr>
          <p:cNvSpPr>
            <a:spLocks noGrp="1"/>
          </p:cNvSpPr>
          <p:nvPr>
            <p:ph type="title"/>
          </p:nvPr>
        </p:nvSpPr>
        <p:spPr>
          <a:xfrm>
            <a:off x="7206167" y="187818"/>
            <a:ext cx="4860133" cy="1273215"/>
          </a:xfrm>
        </p:spPr>
        <p:txBody>
          <a:bodyPr vert="horz" lIns="91440" tIns="45720" rIns="91440" bIns="45720" rtlCol="0" anchor="ctr">
            <a:noAutofit/>
          </a:bodyPr>
          <a:lstStyle/>
          <a:p>
            <a:pPr algn="r"/>
            <a:r>
              <a:rPr lang="en-US" sz="4000">
                <a:solidFill>
                  <a:schemeClr val="bg1"/>
                </a:solidFill>
                <a:latin typeface="Calibri"/>
                <a:cs typeface="Calibri"/>
              </a:rPr>
              <a:t>ERA on track towards more diversity</a:t>
            </a:r>
            <a:endParaRPr lang="en-US" sz="4000">
              <a:solidFill>
                <a:schemeClr val="bg1"/>
              </a:solidFill>
              <a:cs typeface="Calibri Light"/>
            </a:endParaRPr>
          </a:p>
        </p:txBody>
      </p:sp>
      <p:sp>
        <p:nvSpPr>
          <p:cNvPr id="17" name="TextBox 16">
            <a:extLst>
              <a:ext uri="{FF2B5EF4-FFF2-40B4-BE49-F238E27FC236}">
                <a16:creationId xmlns:a16="http://schemas.microsoft.com/office/drawing/2014/main" id="{6E0D7112-4851-DBB1-410A-D4810608F4DC}"/>
              </a:ext>
            </a:extLst>
          </p:cNvPr>
          <p:cNvSpPr txBox="1"/>
          <p:nvPr/>
        </p:nvSpPr>
        <p:spPr>
          <a:xfrm>
            <a:off x="291703" y="1464469"/>
            <a:ext cx="11768135" cy="51398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chemeClr val="bg1"/>
                </a:solidFill>
                <a:cs typeface="Calibri"/>
              </a:rPr>
              <a:t>Creating Agency wide </a:t>
            </a:r>
            <a:r>
              <a:rPr lang="en-US" sz="2400" b="1">
                <a:solidFill>
                  <a:schemeClr val="bg1"/>
                </a:solidFill>
                <a:cs typeface="Calibri"/>
              </a:rPr>
              <a:t>synergies </a:t>
            </a:r>
            <a:r>
              <a:rPr lang="en-US" sz="2400">
                <a:solidFill>
                  <a:schemeClr val="bg1"/>
                </a:solidFill>
                <a:cs typeface="Calibri"/>
              </a:rPr>
              <a:t>to increase diversity in the most </a:t>
            </a:r>
            <a:r>
              <a:rPr lang="en-US" sz="2400" b="1">
                <a:solidFill>
                  <a:schemeClr val="bg1"/>
                </a:solidFill>
                <a:cs typeface="Calibri"/>
              </a:rPr>
              <a:t>efficient</a:t>
            </a:r>
            <a:r>
              <a:rPr lang="en-US" sz="2400">
                <a:solidFill>
                  <a:schemeClr val="bg1"/>
                </a:solidFill>
                <a:cs typeface="Calibri"/>
              </a:rPr>
              <a:t> and </a:t>
            </a:r>
            <a:r>
              <a:rPr lang="en-US" sz="2400" b="1">
                <a:solidFill>
                  <a:schemeClr val="bg1"/>
                </a:solidFill>
                <a:cs typeface="Calibri"/>
              </a:rPr>
              <a:t>effective </a:t>
            </a:r>
            <a:r>
              <a:rPr lang="en-US" sz="2400">
                <a:solidFill>
                  <a:schemeClr val="bg1"/>
                </a:solidFill>
                <a:cs typeface="Calibri"/>
              </a:rPr>
              <a:t>manner</a:t>
            </a:r>
          </a:p>
          <a:p>
            <a:endParaRPr lang="en-US" sz="2000" b="1">
              <a:solidFill>
                <a:schemeClr val="bg1"/>
              </a:solidFill>
              <a:latin typeface="Arial"/>
              <a:cs typeface="Arial"/>
            </a:endParaRPr>
          </a:p>
          <a:p>
            <a:pPr marL="342900" indent="-342900">
              <a:buFont typeface="Arial"/>
              <a:buChar char="•"/>
            </a:pPr>
            <a:r>
              <a:rPr lang="en-US" sz="2000" b="1">
                <a:solidFill>
                  <a:srgbClr val="FFFF00"/>
                </a:solidFill>
                <a:cs typeface="Calibri"/>
              </a:rPr>
              <a:t>HR STRATEGY 2023-2027</a:t>
            </a:r>
            <a:endParaRPr lang="en-US" b="1">
              <a:solidFill>
                <a:srgbClr val="FFFF00"/>
              </a:solidFill>
              <a:cs typeface="Calibri"/>
            </a:endParaRPr>
          </a:p>
          <a:p>
            <a:r>
              <a:rPr lang="en-US" sz="2000">
                <a:solidFill>
                  <a:schemeClr val="bg1"/>
                </a:solidFill>
                <a:cs typeface="Calibri"/>
              </a:rPr>
              <a:t>Moving Europe towards a sustainable and safe railway system by ensuring a performant working environment at ERA, marked by high quality, motivated and collaborative staff. </a:t>
            </a:r>
            <a:endParaRPr lang="en-US">
              <a:solidFill>
                <a:schemeClr val="bg1"/>
              </a:solidFill>
              <a:cs typeface="Calibri"/>
            </a:endParaRPr>
          </a:p>
          <a:p>
            <a:pPr marL="914400" lvl="1" indent="-457200">
              <a:buFont typeface="Arial"/>
              <a:buChar char="•"/>
            </a:pPr>
            <a:r>
              <a:rPr lang="en-US" sz="2000">
                <a:solidFill>
                  <a:schemeClr val="bg1"/>
                </a:solidFill>
                <a:cs typeface="Calibri"/>
              </a:rPr>
              <a:t>An attractive workplace for all </a:t>
            </a:r>
            <a:endParaRPr lang="en-US">
              <a:solidFill>
                <a:schemeClr val="bg1"/>
              </a:solidFill>
              <a:cs typeface="Calibri"/>
            </a:endParaRPr>
          </a:p>
          <a:p>
            <a:pPr lvl="1"/>
            <a:r>
              <a:rPr lang="en-US" sz="2000">
                <a:solidFill>
                  <a:schemeClr val="bg1"/>
                </a:solidFill>
                <a:cs typeface="Calibri"/>
              </a:rPr>
              <a:t>By striving for inclusiveness in our diversity </a:t>
            </a:r>
            <a:endParaRPr lang="en-US">
              <a:solidFill>
                <a:schemeClr val="bg1"/>
              </a:solidFill>
              <a:cs typeface="Calibri"/>
            </a:endParaRPr>
          </a:p>
          <a:p>
            <a:pPr marL="914400" lvl="1" indent="-457200">
              <a:buFont typeface="Arial"/>
              <a:buChar char="•"/>
            </a:pPr>
            <a:r>
              <a:rPr lang="en-US" sz="2000">
                <a:solidFill>
                  <a:schemeClr val="bg1"/>
                </a:solidFill>
                <a:cs typeface="Calibri"/>
              </a:rPr>
              <a:t>Fast and agile selection and engagement meeting ERAs needs </a:t>
            </a:r>
            <a:endParaRPr lang="en-US">
              <a:solidFill>
                <a:schemeClr val="bg1"/>
              </a:solidFill>
              <a:cs typeface="Calibri"/>
            </a:endParaRPr>
          </a:p>
          <a:p>
            <a:pPr lvl="1"/>
            <a:r>
              <a:rPr lang="en-US" sz="2000">
                <a:solidFill>
                  <a:schemeClr val="bg1"/>
                </a:solidFill>
                <a:cs typeface="Calibri"/>
              </a:rPr>
              <a:t>By Ensuring a balanced, diverse and flexible composition of staff </a:t>
            </a:r>
            <a:endParaRPr lang="en-US">
              <a:solidFill>
                <a:schemeClr val="bg1"/>
              </a:solidFill>
              <a:cs typeface="Calibri"/>
            </a:endParaRPr>
          </a:p>
          <a:p>
            <a:pPr marL="800100" lvl="1" indent="-342900">
              <a:buFont typeface="Arial"/>
              <a:buChar char="•"/>
            </a:pPr>
            <a:r>
              <a:rPr lang="en-US" sz="2000">
                <a:solidFill>
                  <a:schemeClr val="bg1"/>
                </a:solidFill>
                <a:cs typeface="Calibri"/>
              </a:rPr>
              <a:t>A flexible and rewarding career: </a:t>
            </a:r>
            <a:r>
              <a:rPr lang="en-US" sz="2000" err="1">
                <a:solidFill>
                  <a:schemeClr val="bg1"/>
                </a:solidFill>
                <a:cs typeface="Calibri"/>
              </a:rPr>
              <a:t>incentivising</a:t>
            </a:r>
            <a:r>
              <a:rPr lang="en-US" sz="2000">
                <a:solidFill>
                  <a:schemeClr val="bg1"/>
                </a:solidFill>
                <a:cs typeface="Calibri"/>
              </a:rPr>
              <a:t> professional and personal development </a:t>
            </a:r>
            <a:endParaRPr lang="en-US">
              <a:solidFill>
                <a:schemeClr val="bg1"/>
              </a:solidFill>
              <a:cs typeface="Calibri"/>
            </a:endParaRPr>
          </a:p>
          <a:p>
            <a:endParaRPr lang="en-US" sz="2000" b="1">
              <a:solidFill>
                <a:schemeClr val="bg1"/>
              </a:solidFill>
              <a:latin typeface="Arial"/>
              <a:cs typeface="Arial"/>
            </a:endParaRPr>
          </a:p>
          <a:p>
            <a:pPr marL="342900" indent="-342900">
              <a:buFont typeface="Arial"/>
              <a:buChar char="•"/>
            </a:pPr>
            <a:r>
              <a:rPr lang="en-US" sz="2000" b="1">
                <a:solidFill>
                  <a:srgbClr val="FFFF00"/>
                </a:solidFill>
                <a:cs typeface="Calibri"/>
              </a:rPr>
              <a:t>COMMUNICATION STRATEGY</a:t>
            </a:r>
            <a:endParaRPr lang="en-US" b="1">
              <a:solidFill>
                <a:srgbClr val="FFFF00"/>
              </a:solidFill>
              <a:cs typeface="Calibri"/>
            </a:endParaRPr>
          </a:p>
          <a:p>
            <a:r>
              <a:rPr lang="en-US" sz="2000">
                <a:solidFill>
                  <a:schemeClr val="bg1"/>
                </a:solidFill>
                <a:cs typeface="Calibri"/>
              </a:rPr>
              <a:t>The visuals created by the organisation that are disseminated externally are gender balanced and effort is made to avoid stereotypes.</a:t>
            </a:r>
            <a:endParaRPr lang="en-US">
              <a:solidFill>
                <a:schemeClr val="bg1"/>
              </a:solidFill>
              <a:cs typeface="Calibri"/>
            </a:endParaRPr>
          </a:p>
          <a:p>
            <a:endParaRPr lang="en-US" sz="2000">
              <a:solidFill>
                <a:schemeClr val="bg1"/>
              </a:solidFill>
              <a:cs typeface="Calibri"/>
            </a:endParaRPr>
          </a:p>
        </p:txBody>
      </p:sp>
    </p:spTree>
    <p:extLst>
      <p:ext uri="{BB962C8B-B14F-4D97-AF65-F5344CB8AC3E}">
        <p14:creationId xmlns:p14="http://schemas.microsoft.com/office/powerpoint/2010/main" val="1002995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Blu caldo">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_New_PPT_Template.potx" id="{ECCACE19-3B30-4458-A50B-6BB28FE2FCAB}" vid="{668021BB-D978-49FD-A893-5ADFBBA4FB9B}"/>
    </a:ext>
  </a:extLst>
</a:theme>
</file>

<file path=ppt/theme/theme2.xml><?xml version="1.0" encoding="utf-8"?>
<a:theme xmlns:a="http://schemas.openxmlformats.org/drawingml/2006/main" name="3_Office Theme">
  <a:themeElements>
    <a:clrScheme name="Blu caldo">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_New_PPT_Template.potx" id="{ECCACE19-3B30-4458-A50B-6BB28FE2FCAB}" vid="{30FF0902-7799-4672-A02C-EBA7DB385761}"/>
    </a:ext>
  </a:extLst>
</a:theme>
</file>

<file path=ppt/theme/theme3.xml><?xml version="1.0" encoding="utf-8"?>
<a:theme xmlns:a="http://schemas.openxmlformats.org/drawingml/2006/main" name="4_Office Theme">
  <a:themeElements>
    <a:clrScheme name="Blu caldo">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_New_PPT_Template.potx" id="{ECCACE19-3B30-4458-A50B-6BB28FE2FCAB}" vid="{668021BB-D978-49FD-A893-5ADFBBA4FB9B}"/>
    </a:ext>
  </a:extLst>
</a:theme>
</file>

<file path=ppt/theme/theme4.xml><?xml version="1.0" encoding="utf-8"?>
<a:theme xmlns:a="http://schemas.openxmlformats.org/drawingml/2006/main" name="STAFFER">
  <a:themeElements>
    <a:clrScheme name="Custom 1">
      <a:dk1>
        <a:srgbClr val="2E3251"/>
      </a:dk1>
      <a:lt1>
        <a:srgbClr val="FFFFFF"/>
      </a:lt1>
      <a:dk2>
        <a:srgbClr val="2E3259"/>
      </a:dk2>
      <a:lt2>
        <a:srgbClr val="FFFFFF"/>
      </a:lt2>
      <a:accent1>
        <a:srgbClr val="2E3281"/>
      </a:accent1>
      <a:accent2>
        <a:srgbClr val="1A6971"/>
      </a:accent2>
      <a:accent3>
        <a:srgbClr val="812E5B"/>
      </a:accent3>
      <a:accent4>
        <a:srgbClr val="28A45B"/>
      </a:accent4>
      <a:accent5>
        <a:srgbClr val="BE4192"/>
      </a:accent5>
      <a:accent6>
        <a:srgbClr val="F7A033"/>
      </a:accent6>
      <a:hlink>
        <a:srgbClr val="0000FF"/>
      </a:hlink>
      <a:folHlink>
        <a:srgbClr val="800080"/>
      </a:folHlink>
    </a:clrScheme>
    <a:fontScheme name="Tw Cen MT">
      <a:maj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Presentazione standard1" id="{31FEF05C-AEE3-4061-ADB4-42A02BFDCE54}" vid="{6A0415C9-28CF-4E3C-945C-1704A6DBB9F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ERA_Document" ma:contentTypeID="0x010100ED194B9F7C15044CBD43C025EAD2ECAB006E253471D934F44CB5EE00D6CA51BA57" ma:contentTypeVersion="1357" ma:contentTypeDescription="Create a new document." ma:contentTypeScope="" ma:versionID="c7043444aae1d1cac304575313caec5a">
  <xsd:schema xmlns:xsd="http://www.w3.org/2001/XMLSchema" xmlns:xs="http://www.w3.org/2001/XMLSchema" xmlns:p="http://schemas.microsoft.com/office/2006/metadata/properties" xmlns:ns2="49592fe1-76b3-425e-9982-488f19897f48" xmlns:ns3="8fc5278b-293a-461f-8078-4807083c99e4" targetNamespace="http://schemas.microsoft.com/office/2006/metadata/properties" ma:root="true" ma:fieldsID="1f50f445adcfdf9715649d1c5f3f2e31" ns2:_="" ns3:_="">
    <xsd:import namespace="49592fe1-76b3-425e-9982-488f19897f48"/>
    <xsd:import namespace="8fc5278b-293a-461f-8078-4807083c99e4"/>
    <xsd:element name="properties">
      <xsd:complexType>
        <xsd:sequence>
          <xsd:element name="documentManagement">
            <xsd:complexType>
              <xsd:all>
                <xsd:element ref="ns2:Project_x0020_Code" minOccurs="0"/>
                <xsd:element ref="ns2:TaxCatchAllLabel" minOccurs="0"/>
                <xsd:element ref="ns2:TaxCatchAll" minOccurs="0"/>
                <xsd:element ref="ns2:gf147c1d654543abacff4a31dfc45623" minOccurs="0"/>
                <xsd:element ref="ns2:g337828d867743cab065af36c4e1a31c" minOccurs="0"/>
                <xsd:element ref="ns2:h70713ed90ce4adeabe454f2aabfa4ef" minOccurs="0"/>
                <xsd:element ref="ns2:_dlc_DocId" minOccurs="0"/>
                <xsd:element ref="ns2:_dlc_DocIdUrl" minOccurs="0"/>
                <xsd:element ref="ns2:_dlc_DocIdPersistId" minOccurs="0"/>
                <xsd:element ref="ns3:MediaServiceGenerationTime" minOccurs="0"/>
                <xsd:element ref="ns3:MediaServiceEventHashCode" minOccurs="0"/>
                <xsd:element ref="ns3:MediaServiceOCR" minOccurs="0"/>
                <xsd:element ref="ns3:MediaServiceLocation" minOccurs="0"/>
                <xsd:element ref="ns3:MediaServiceMetadata" minOccurs="0"/>
                <xsd:element ref="ns3:MediaServiceFastMetadata" minOccurs="0"/>
                <xsd:element ref="ns3:lcf76f155ced4ddcb4097134ff3c332f"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592fe1-76b3-425e-9982-488f19897f48" elementFormDefault="qualified">
    <xsd:import namespace="http://schemas.microsoft.com/office/2006/documentManagement/types"/>
    <xsd:import namespace="http://schemas.microsoft.com/office/infopath/2007/PartnerControls"/>
    <xsd:element name="Project_x0020_Code" ma:index="4" nillable="true" ma:displayName="Project Code" ma:description="Only if the project code exists" ma:internalName="Project_x0020_Code" ma:readOnly="false">
      <xsd:simpleType>
        <xsd:restriction base="dms:Text">
          <xsd:maxLength value="255"/>
        </xsd:restriction>
      </xsd:simpleType>
    </xsd:element>
    <xsd:element name="TaxCatchAllLabel" ma:index="8" nillable="true" ma:displayName="Taxonomy Catch All Column1" ma:hidden="true" ma:list="{85849e7d-2efe-4897-b06f-a72b4edbb22d}" ma:internalName="TaxCatchAllLabel" ma:readOnly="true" ma:showField="CatchAllDataLabel" ma:web="36a9c897-2d74-410f-8d77-1a54cee6f51d">
      <xsd:complexType>
        <xsd:complexContent>
          <xsd:extension base="dms:MultiChoiceLookup">
            <xsd:sequence>
              <xsd:element name="Value" type="dms:Lookup" maxOccurs="unbounded" minOccurs="0" nillable="true"/>
            </xsd:sequence>
          </xsd:extension>
        </xsd:complexContent>
      </xsd:complexType>
    </xsd:element>
    <xsd:element name="TaxCatchAll" ma:index="9" nillable="true" ma:displayName="Taxonomy Catch All Column" ma:hidden="true" ma:list="{85849e7d-2efe-4897-b06f-a72b4edbb22d}" ma:internalName="TaxCatchAll" ma:readOnly="false" ma:showField="CatchAllData" ma:web="36a9c897-2d74-410f-8d77-1a54cee6f51d">
      <xsd:complexType>
        <xsd:complexContent>
          <xsd:extension base="dms:MultiChoiceLookup">
            <xsd:sequence>
              <xsd:element name="Value" type="dms:Lookup" maxOccurs="unbounded" minOccurs="0" nillable="true"/>
            </xsd:sequence>
          </xsd:extension>
        </xsd:complexContent>
      </xsd:complexType>
    </xsd:element>
    <xsd:element name="gf147c1d654543abacff4a31dfc45623" ma:index="10" ma:taxonomy="true" ma:internalName="gf147c1d654543abacff4a31dfc45623" ma:taxonomyFieldName="Origin_x002d_Author" ma:displayName="Origin-Author" ma:readOnly="false" ma:default="2;#ERA|8287c6ea-6f12-4bfd-9fc9-6825fce534f5" ma:fieldId="{0f147c1d-6545-43ab-acff-4a31dfc45623}" ma:sspId="ec698c8c-469b-4390-ad13-30cd69364034" ma:termSetId="3bd325ee-ad60-4d4f-86e3-57acc143124f" ma:anchorId="00000000-0000-0000-0000-000000000000" ma:open="false" ma:isKeyword="false">
      <xsd:complexType>
        <xsd:sequence>
          <xsd:element ref="pc:Terms" minOccurs="0" maxOccurs="1"/>
        </xsd:sequence>
      </xsd:complexType>
    </xsd:element>
    <xsd:element name="g337828d867743cab065af36c4e1a31c" ma:index="11" ma:taxonomy="true" ma:internalName="g337828d867743cab065af36c4e1a31c" ma:taxonomyFieldName="Process" ma:displayName="Process" ma:indexed="true" ma:readOnly="false" ma:fieldId="{0337828d-8677-43ca-b065-af36c4e1a31c}" ma:sspId="ec698c8c-469b-4390-ad13-30cd69364034" ma:termSetId="41c32b1e-eebd-43d7-92b4-2a0b44ea6647" ma:anchorId="00000000-0000-0000-0000-000000000000" ma:open="false" ma:isKeyword="false">
      <xsd:complexType>
        <xsd:sequence>
          <xsd:element ref="pc:Terms" minOccurs="0" maxOccurs="1"/>
        </xsd:sequence>
      </xsd:complexType>
    </xsd:element>
    <xsd:element name="h70713ed90ce4adeabe454f2aabfa4ef" ma:index="12" ma:taxonomy="true" ma:internalName="h70713ed90ce4adeabe454f2aabfa4ef" ma:taxonomyFieldName="Document_x0020_type" ma:displayName="Document type" ma:readOnly="false" ma:fieldId="{170713ed-90ce-4ade-abe4-54f2aabfa4ef}" ma:sspId="ec698c8c-469b-4390-ad13-30cd69364034" ma:termSetId="07ece8fb-22f7-4a45-9bd0-d78559e8cddf" ma:anchorId="00000000-0000-0000-0000-000000000000" ma:open="false" ma:isKeyword="false">
      <xsd:complexType>
        <xsd:sequence>
          <xsd:element ref="pc:Terms" minOccurs="0" maxOccurs="1"/>
        </xsd:sequence>
      </xsd:complex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fc5278b-293a-461f-8078-4807083c99e4" elementFormDefault="qualified">
    <xsd:import namespace="http://schemas.microsoft.com/office/2006/documentManagement/types"/>
    <xsd:import namespace="http://schemas.microsoft.com/office/infopath/2007/PartnerControls"/>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Location" ma:index="23" nillable="true" ma:displayName="Location" ma:indexed="true" ma:internalName="MediaServiceLocation" ma:readOnly="true">
      <xsd:simpleType>
        <xsd:restriction base="dms:Text"/>
      </xsd:simpleType>
    </xsd:element>
    <xsd:element name="MediaServiceMetadata" ma:index="24" nillable="true" ma:displayName="MediaServiceMetadata" ma:hidden="true" ma:internalName="MediaServiceMetadata" ma:readOnly="true">
      <xsd:simpleType>
        <xsd:restriction base="dms:Note"/>
      </xsd:simpleType>
    </xsd:element>
    <xsd:element name="MediaServiceFastMetadata" ma:index="25" nillable="true" ma:displayName="MediaServiceFastMetadata" ma:hidden="true" ma:internalName="MediaServiceFastMetadata"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c698c8c-469b-4390-ad13-30cd69364034" ma:termSetId="09814cd3-568e-fe90-9814-8d621ff8fb84" ma:anchorId="fba54fb3-c3e1-fe81-a776-ca4b69148c4d" ma:open="true" ma:isKeyword="false">
      <xsd:complexType>
        <xsd:sequence>
          <xsd:element ref="pc:Terms" minOccurs="0" maxOccurs="1"/>
        </xsd:sequence>
      </xsd:complexType>
    </xsd:element>
    <xsd:element name="MediaServiceDateTaken" ma:index="28" nillable="true" ma:displayName="MediaServiceDateTaken" ma:hidden="true" ma:indexed="true" ma:internalName="MediaServiceDateTaken" ma:readOnly="true">
      <xsd:simpleType>
        <xsd:restriction base="dms:Text"/>
      </xsd:simpleType>
    </xsd:element>
    <xsd:element name="MediaLengthInSeconds" ma:index="29"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fc5278b-293a-461f-8078-4807083c99e4">
      <Terms xmlns="http://schemas.microsoft.com/office/infopath/2007/PartnerControls"/>
    </lcf76f155ced4ddcb4097134ff3c332f>
    <TaxCatchAll xmlns="49592fe1-76b3-425e-9982-488f19897f48">
      <Value>10</Value>
      <Value>2</Value>
      <Value>3</Value>
    </TaxCatchAll>
    <gf147c1d654543abacff4a31dfc45623 xmlns="49592fe1-76b3-425e-9982-488f19897f48">
      <Terms xmlns="http://schemas.microsoft.com/office/infopath/2007/PartnerControls">
        <TermInfo xmlns="http://schemas.microsoft.com/office/infopath/2007/PartnerControls">
          <TermName xmlns="http://schemas.microsoft.com/office/infopath/2007/PartnerControls">ERA</TermName>
          <TermId xmlns="http://schemas.microsoft.com/office/infopath/2007/PartnerControls">8287c6ea-6f12-4bfd-9fc9-6825fce534f5</TermId>
        </TermInfo>
      </Terms>
    </gf147c1d654543abacff4a31dfc45623>
    <g337828d867743cab065af36c4e1a31c xmlns="49592fe1-76b3-425e-9982-488f19897f48">
      <Terms xmlns="http://schemas.microsoft.com/office/infopath/2007/PartnerControls">
        <TermInfo xmlns="http://schemas.microsoft.com/office/infopath/2007/PartnerControls">
          <TermName xmlns="http://schemas.microsoft.com/office/infopath/2007/PartnerControls">COS - Communication services (events, press, internal communication)</TermName>
          <TermId xmlns="http://schemas.microsoft.com/office/infopath/2007/PartnerControls">6e7aecaf-4b6f-4553-9375-5c2379a2e3d6</TermId>
        </TermInfo>
      </Terms>
    </g337828d867743cab065af36c4e1a31c>
    <Project_x0020_Code xmlns="49592fe1-76b3-425e-9982-488f19897f48">1145</Project_x0020_Code>
    <h70713ed90ce4adeabe454f2aabfa4ef xmlns="49592fe1-76b3-425e-9982-488f19897f48">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d69afb93-d8c7-4c9e-870f-5298841c2f8f</TermId>
        </TermInfo>
      </Terms>
    </h70713ed90ce4adeabe454f2aabfa4ef>
    <_dlc_DocId xmlns="49592fe1-76b3-425e-9982-488f19897f48">INTID-560544036-1377</_dlc_DocId>
    <_dlc_DocIdUrl xmlns="49592fe1-76b3-425e-9982-488f19897f48">
      <Url>https://eraeuropaeu.sharepoint.com/sites/SAC/_layouts/15/DocIdRedir.aspx?ID=INTID-560544036-1377</Url>
      <Description>INTID-560544036-1377</Description>
    </_dlc_DocIdUrl>
  </documentManagement>
</p:properties>
</file>

<file path=customXml/item4.xml><?xml version="1.0" encoding="utf-8"?>
<?mso-contentType ?>
<SharedContentType xmlns="Microsoft.SharePoint.Taxonomy.ContentTypeSync" SourceId="ec698c8c-469b-4390-ad13-30cd69364034" ContentTypeId="0x010100ED194B9F7C15044CBD43C025EAD2ECAB" PreviousValue="tru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1971C96-EF8F-4050-A395-970ED9BCBD38}">
  <ds:schemaRefs>
    <ds:schemaRef ds:uri="49592fe1-76b3-425e-9982-488f19897f48"/>
    <ds:schemaRef ds:uri="8fc5278b-293a-461f-8078-4807083c99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035F58D-5F80-4278-903D-A99D898ACBA3}">
  <ds:schemaRefs>
    <ds:schemaRef ds:uri="http://schemas.microsoft.com/sharepoint/v3/contenttype/forms"/>
  </ds:schemaRefs>
</ds:datastoreItem>
</file>

<file path=customXml/itemProps3.xml><?xml version="1.0" encoding="utf-8"?>
<ds:datastoreItem xmlns:ds="http://schemas.openxmlformats.org/officeDocument/2006/customXml" ds:itemID="{597D2683-C09C-46EE-9BB4-A11D8F475746}">
  <ds:schemaRefs>
    <ds:schemaRef ds:uri="49592fe1-76b3-425e-9982-488f19897f48"/>
    <ds:schemaRef ds:uri="8fc5278b-293a-461f-8078-4807083c99e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5770F31A-EA75-477F-842A-B8C778F1B9C1}">
  <ds:schemaRefs>
    <ds:schemaRef ds:uri="Microsoft.SharePoint.Taxonomy.ContentTypeSync"/>
  </ds:schemaRefs>
</ds:datastoreItem>
</file>

<file path=customXml/itemProps5.xml><?xml version="1.0" encoding="utf-8"?>
<ds:datastoreItem xmlns:ds="http://schemas.openxmlformats.org/officeDocument/2006/customXml" ds:itemID="{1E7DFAF4-A14E-49A0-83EC-517B89B6257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ERA Template_16 9</Template>
  <Application>Microsoft Office PowerPoint</Application>
  <PresentationFormat>Widescreen</PresentationFormat>
  <Slides>32</Slides>
  <Notes>7</Notes>
  <HiddenSlides>0</HiddenSlides>
  <ScaleCrop>false</ScaleCrop>
  <HeadingPairs>
    <vt:vector size="4" baseType="variant">
      <vt:variant>
        <vt:lpstr>Theme</vt:lpstr>
      </vt:variant>
      <vt:variant>
        <vt:i4>4</vt:i4>
      </vt:variant>
      <vt:variant>
        <vt:lpstr>Slide Titles</vt:lpstr>
      </vt:variant>
      <vt:variant>
        <vt:i4>32</vt:i4>
      </vt:variant>
    </vt:vector>
  </HeadingPairs>
  <TitlesOfParts>
    <vt:vector size="36" baseType="lpstr">
      <vt:lpstr>2_Office Theme</vt:lpstr>
      <vt:lpstr>3_Office Theme</vt:lpstr>
      <vt:lpstr>4_Office Theme</vt:lpstr>
      <vt:lpstr>STAFFER</vt:lpstr>
      <vt:lpstr>Feedback on the ERA-ENISA Conference on Railway Cybersecurity 16 February 2023</vt:lpstr>
      <vt:lpstr>Speakers</vt:lpstr>
      <vt:lpstr>Why diversity matters?</vt:lpstr>
      <vt:lpstr>Gender balance – Status</vt:lpstr>
      <vt:lpstr>Gender balance – Status</vt:lpstr>
      <vt:lpstr>Gender equality in the EU is an EU Value</vt:lpstr>
      <vt:lpstr>Benefits of diversity -  Why diversity matters</vt:lpstr>
      <vt:lpstr>On track towards more diversity</vt:lpstr>
      <vt:lpstr>ERA on track towards more diversity</vt:lpstr>
      <vt:lpstr>ERA on track towards more diversity</vt:lpstr>
      <vt:lpstr>ERA’s Participatory Gender Audit</vt:lpstr>
      <vt:lpstr>Participatory Gender Audit  - Objectives</vt:lpstr>
      <vt:lpstr>Methodology for the Gender Audit</vt:lpstr>
      <vt:lpstr>Framework for the Participatory Gender Audit</vt:lpstr>
      <vt:lpstr>Some examples of findings</vt:lpstr>
      <vt:lpstr>Endorsing Diversity and Inclusion at ERA</vt:lpstr>
      <vt:lpstr>PowerPoint Presentation</vt:lpstr>
      <vt:lpstr>PowerPoint Presentation</vt:lpstr>
      <vt:lpstr>PowerPoint Presentation</vt:lpstr>
      <vt:lpstr>Panel discussion</vt:lpstr>
      <vt:lpstr>The EU project STAFFER,  Skill Training Alliance For the Future European Rail system </vt:lpstr>
      <vt:lpstr>Blueprint for rail supply and transport industries </vt:lpstr>
      <vt:lpstr>Consortium</vt:lpstr>
      <vt:lpstr>Already executed activities</vt:lpstr>
      <vt:lpstr>RESULTS on skills gap and  occupational profiles analysis</vt:lpstr>
      <vt:lpstr>RESULTS on occupational profiles selection and programmes definition</vt:lpstr>
      <vt:lpstr>RESULTS on programmes validation</vt:lpstr>
      <vt:lpstr> THANK YOU!   Visit us at: www.railstaffer.eu</vt:lpstr>
      <vt:lpstr>PowerPoint Presentation</vt:lpstr>
      <vt:lpstr>PowerPoint Presentation</vt:lpstr>
      <vt:lpstr>Upcoming ERA even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K MANAGEMENT PLATFORM</dc:title>
  <dc:creator>RUFFIN Emmanuel</dc:creator>
  <cp:revision>1</cp:revision>
  <cp:lastPrinted>2022-10-10T14:54:39Z</cp:lastPrinted>
  <dcterms:created xsi:type="dcterms:W3CDTF">2022-09-27T08:16:10Z</dcterms:created>
  <dcterms:modified xsi:type="dcterms:W3CDTF">2023-04-21T09:1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194B9F7C15044CBD43C025EAD2ECAB006E253471D934F44CB5EE00D6CA51BA57</vt:lpwstr>
  </property>
  <property fmtid="{D5CDD505-2E9C-101B-9397-08002B2CF9AE}" pid="3" name="_dlc_DocIdItemGuid">
    <vt:lpwstr>d1b6aa34-c342-4a68-80d5-ac0f572d678a</vt:lpwstr>
  </property>
  <property fmtid="{D5CDD505-2E9C-101B-9397-08002B2CF9AE}" pid="4" name="Document type">
    <vt:lpwstr>10;#Presentation|d69afb93-d8c7-4c9e-870f-5298841c2f8f</vt:lpwstr>
  </property>
  <property fmtid="{D5CDD505-2E9C-101B-9397-08002B2CF9AE}" pid="5" name="MediaServiceImageTags">
    <vt:lpwstr/>
  </property>
  <property fmtid="{D5CDD505-2E9C-101B-9397-08002B2CF9AE}" pid="6" name="DossierNr">
    <vt:lpwstr/>
  </property>
  <property fmtid="{D5CDD505-2E9C-101B-9397-08002B2CF9AE}" pid="7" name="Instantie">
    <vt:lpwstr/>
  </property>
  <property fmtid="{D5CDD505-2E9C-101B-9397-08002B2CF9AE}" pid="8" name="MSIP_Label_36a229f9-d7c7-422f-b662-ff45a45ca423_Enabled">
    <vt:lpwstr>True</vt:lpwstr>
  </property>
  <property fmtid="{D5CDD505-2E9C-101B-9397-08002B2CF9AE}" pid="9" name="MSIP_Label_36a229f9-d7c7-422f-b662-ff45a45ca423_SiteId">
    <vt:lpwstr>25faedbb-f440-4315-83ee-6f7beb5e73f7</vt:lpwstr>
  </property>
  <property fmtid="{D5CDD505-2E9C-101B-9397-08002B2CF9AE}" pid="10" name="MSIP_Label_36a229f9-d7c7-422f-b662-ff45a45ca423_Owner">
    <vt:lpwstr>cyriel.martin@era.europa.eu</vt:lpwstr>
  </property>
  <property fmtid="{D5CDD505-2E9C-101B-9397-08002B2CF9AE}" pid="11" name="MSIP_Label_36a229f9-d7c7-422f-b662-ff45a45ca423_SetDate">
    <vt:lpwstr>2023-01-17T08:19:45.0647479Z</vt:lpwstr>
  </property>
  <property fmtid="{D5CDD505-2E9C-101B-9397-08002B2CF9AE}" pid="12" name="MSIP_Label_36a229f9-d7c7-422f-b662-ff45a45ca423_Name">
    <vt:lpwstr>General</vt:lpwstr>
  </property>
  <property fmtid="{D5CDD505-2E9C-101B-9397-08002B2CF9AE}" pid="13" name="MSIP_Label_36a229f9-d7c7-422f-b662-ff45a45ca423_Application">
    <vt:lpwstr>Microsoft Azure Information Protection</vt:lpwstr>
  </property>
  <property fmtid="{D5CDD505-2E9C-101B-9397-08002B2CF9AE}" pid="14" name="MSIP_Label_36a229f9-d7c7-422f-b662-ff45a45ca423_ActionId">
    <vt:lpwstr>3c4d6b38-35c8-4d7e-b85f-fa2691d67369</vt:lpwstr>
  </property>
  <property fmtid="{D5CDD505-2E9C-101B-9397-08002B2CF9AE}" pid="15" name="MSIP_Label_36a229f9-d7c7-422f-b662-ff45a45ca423_Extended_MSFT_Method">
    <vt:lpwstr>Manual</vt:lpwstr>
  </property>
  <property fmtid="{D5CDD505-2E9C-101B-9397-08002B2CF9AE}" pid="16" name="Sensitivity">
    <vt:lpwstr>General</vt:lpwstr>
  </property>
  <property fmtid="{D5CDD505-2E9C-101B-9397-08002B2CF9AE}" pid="17" name="Origin-Author">
    <vt:lpwstr>2;#ERA|8287c6ea-6f12-4bfd-9fc9-6825fce534f5</vt:lpwstr>
  </property>
  <property fmtid="{D5CDD505-2E9C-101B-9397-08002B2CF9AE}" pid="18" name="Process">
    <vt:lpwstr>3;#COS - Communication services (events, press, internal communication)|6e7aecaf-4b6f-4553-9375-5c2379a2e3d6</vt:lpwstr>
  </property>
</Properties>
</file>